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2088198365" r:id="rId5"/>
  </p:sldIdLst>
  <p:sldSz cx="10079038" cy="7559675"/>
  <p:notesSz cx="6858000" cy="9144000"/>
  <p:custDataLst>
    <p:tags r:id="rId7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738F1C-A413-E01A-F0B5-F57097FC5C94}" name="Alannah Tran" initials="AT" userId="S::Alannah.Tran@nousgroup.com.au::ca071bd6-a585-4695-914d-bc8a7ace886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D7D"/>
    <a:srgbClr val="7F0D82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089EF0-73B2-45CF-A10C-561D2DFB742C}" v="6" dt="2023-08-01T00:25:47.21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6327" autoAdjust="0"/>
  </p:normalViewPr>
  <p:slideViewPr>
    <p:cSldViewPr snapToGrid="0">
      <p:cViewPr>
        <p:scale>
          <a:sx n="66" d="100"/>
          <a:sy n="66" d="100"/>
        </p:scale>
        <p:origin x="1758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elci Cox (DEECA)" userId="741e8044-b9a9-4f64-9945-56170e728a80" providerId="ADAL" clId="{BC089EF0-73B2-45CF-A10C-561D2DFB742C}"/>
    <pc:docChg chg="custSel delSld modSld modMainMaster modNotesMaster">
      <pc:chgData name="Chelci Cox (DEECA)" userId="741e8044-b9a9-4f64-9945-56170e728a80" providerId="ADAL" clId="{BC089EF0-73B2-45CF-A10C-561D2DFB742C}" dt="2023-08-01T00:26:20.233" v="120" actId="14100"/>
      <pc:docMkLst>
        <pc:docMk/>
      </pc:docMkLst>
      <pc:sldChg chg="del">
        <pc:chgData name="Chelci Cox (DEECA)" userId="741e8044-b9a9-4f64-9945-56170e728a80" providerId="ADAL" clId="{BC089EF0-73B2-45CF-A10C-561D2DFB742C}" dt="2023-08-01T00:20:38.427" v="5" actId="47"/>
        <pc:sldMkLst>
          <pc:docMk/>
          <pc:sldMk cId="179364010" sldId="256"/>
        </pc:sldMkLst>
      </pc:sldChg>
      <pc:sldChg chg="del">
        <pc:chgData name="Chelci Cox (DEECA)" userId="741e8044-b9a9-4f64-9945-56170e728a80" providerId="ADAL" clId="{BC089EF0-73B2-45CF-A10C-561D2DFB742C}" dt="2023-08-01T00:20:37.748" v="4" actId="47"/>
        <pc:sldMkLst>
          <pc:docMk/>
          <pc:sldMk cId="3243203912" sldId="257"/>
        </pc:sldMkLst>
      </pc:sldChg>
      <pc:sldChg chg="addSp delSp modSp mod">
        <pc:chgData name="Chelci Cox (DEECA)" userId="741e8044-b9a9-4f64-9945-56170e728a80" providerId="ADAL" clId="{BC089EF0-73B2-45CF-A10C-561D2DFB742C}" dt="2023-08-01T00:26:20.233" v="120" actId="14100"/>
        <pc:sldMkLst>
          <pc:docMk/>
          <pc:sldMk cId="3680790292" sldId="2088198365"/>
        </pc:sldMkLst>
        <pc:spChg chg="del">
          <ac:chgData name="Chelci Cox (DEECA)" userId="741e8044-b9a9-4f64-9945-56170e728a80" providerId="ADAL" clId="{BC089EF0-73B2-45CF-A10C-561D2DFB742C}" dt="2023-08-01T00:20:33.333" v="0" actId="478"/>
          <ac:spMkLst>
            <pc:docMk/>
            <pc:sldMk cId="3680790292" sldId="2088198365"/>
            <ac:spMk id="2" creationId="{8CEE7DF9-C38B-BA93-B553-005A3A3B49FE}"/>
          </ac:spMkLst>
        </pc:spChg>
        <pc:spChg chg="del mod">
          <ac:chgData name="Chelci Cox (DEECA)" userId="741e8044-b9a9-4f64-9945-56170e728a80" providerId="ADAL" clId="{BC089EF0-73B2-45CF-A10C-561D2DFB742C}" dt="2023-08-01T00:20:34.899" v="2" actId="478"/>
          <ac:spMkLst>
            <pc:docMk/>
            <pc:sldMk cId="3680790292" sldId="2088198365"/>
            <ac:spMk id="3" creationId="{8D9B700E-7566-FD55-256A-D3C5E3CF4F5A}"/>
          </ac:spMkLst>
        </pc:spChg>
        <pc:spChg chg="del">
          <ac:chgData name="Chelci Cox (DEECA)" userId="741e8044-b9a9-4f64-9945-56170e728a80" providerId="ADAL" clId="{BC089EF0-73B2-45CF-A10C-561D2DFB742C}" dt="2023-08-01T00:20:36.225" v="3" actId="478"/>
          <ac:spMkLst>
            <pc:docMk/>
            <pc:sldMk cId="3680790292" sldId="2088198365"/>
            <ac:spMk id="5" creationId="{9EDE0DD6-AABC-0FB4-1351-B7FA5A315252}"/>
          </ac:spMkLst>
        </pc:spChg>
        <pc:spChg chg="add mod">
          <ac:chgData name="Chelci Cox (DEECA)" userId="741e8044-b9a9-4f64-9945-56170e728a80" providerId="ADAL" clId="{BC089EF0-73B2-45CF-A10C-561D2DFB742C}" dt="2023-08-01T00:23:21.662" v="93" actId="20577"/>
          <ac:spMkLst>
            <pc:docMk/>
            <pc:sldMk cId="3680790292" sldId="2088198365"/>
            <ac:spMk id="7" creationId="{6E0CE1F8-222B-2C2F-15DE-1F9444C9D179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10" creationId="{BCA41EAE-1C39-2F68-886F-7B86486E30EF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11" creationId="{CADA153A-2D40-097F-E10D-01EDE833BC1A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13" creationId="{F24E1DCD-F450-5206-AE4E-F656B38CB433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15" creationId="{577884B1-5B7D-4A58-15CB-9F7828D2CB95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18" creationId="{653B2338-15BD-F548-C694-F5F21BD311E1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20" creationId="{2B5166ED-6260-BB7F-6472-C1B3D05E5D1C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23" creationId="{F41AF15A-7B41-54BF-C8B2-3E469CED1709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25" creationId="{35B96A2D-D507-3367-7F8C-2507F117CDAB}"/>
          </ac:spMkLst>
        </pc:spChg>
        <pc:spChg chg="mod">
          <ac:chgData name="Chelci Cox (DEECA)" userId="741e8044-b9a9-4f64-9945-56170e728a80" providerId="ADAL" clId="{BC089EF0-73B2-45CF-A10C-561D2DFB742C}" dt="2023-08-01T00:21:02.611" v="6"/>
          <ac:spMkLst>
            <pc:docMk/>
            <pc:sldMk cId="3680790292" sldId="2088198365"/>
            <ac:spMk id="28" creationId="{A7391766-0208-7D5C-5A58-6B3283EE3668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29" creationId="{503360AF-4470-B2DB-9C5A-0F78BFD23AFD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30" creationId="{B3A958BC-F4B2-EEC3-E767-BFEDEFA922C4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31" creationId="{0752F487-7337-71F3-C453-5B4D28B5F9AC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35" creationId="{127A2654-1502-6C43-08DC-AC68AA11EF41}"/>
          </ac:spMkLst>
        </pc:spChg>
        <pc:spChg chg="add del mod">
          <ac:chgData name="Chelci Cox (DEECA)" userId="741e8044-b9a9-4f64-9945-56170e728a80" providerId="ADAL" clId="{BC089EF0-73B2-45CF-A10C-561D2DFB742C}" dt="2023-08-01T00:21:11.357" v="7"/>
          <ac:spMkLst>
            <pc:docMk/>
            <pc:sldMk cId="3680790292" sldId="2088198365"/>
            <ac:spMk id="36" creationId="{3703F2DA-5379-6A76-365A-0CBF7FEEA1D2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k cId="3680790292" sldId="2088198365"/>
            <ac:spMk id="39" creationId="{AD85C48B-0CFD-D07D-3A50-485B8066E0A6}"/>
          </ac:spMkLst>
        </pc:spChg>
        <pc:spChg chg="add mod">
          <ac:chgData name="Chelci Cox (DEECA)" userId="741e8044-b9a9-4f64-9945-56170e728a80" providerId="ADAL" clId="{BC089EF0-73B2-45CF-A10C-561D2DFB742C}" dt="2023-08-01T00:24:49.175" v="100" actId="207"/>
          <ac:spMkLst>
            <pc:docMk/>
            <pc:sldMk cId="3680790292" sldId="2088198365"/>
            <ac:spMk id="40" creationId="{BAE79C19-5198-6901-00D6-6157A7C12BB0}"/>
          </ac:spMkLst>
        </pc:spChg>
        <pc:spChg chg="add mod">
          <ac:chgData name="Chelci Cox (DEECA)" userId="741e8044-b9a9-4f64-9945-56170e728a80" providerId="ADAL" clId="{BC089EF0-73B2-45CF-A10C-561D2DFB742C}" dt="2023-08-01T00:23:38.588" v="94" actId="114"/>
          <ac:spMkLst>
            <pc:docMk/>
            <pc:sldMk cId="3680790292" sldId="2088198365"/>
            <ac:spMk id="42" creationId="{F4F2F3C3-3A58-575E-1719-211EDEE31ADB}"/>
          </ac:spMkLst>
        </pc:spChg>
        <pc:spChg chg="mod">
          <ac:chgData name="Chelci Cox (DEECA)" userId="741e8044-b9a9-4f64-9945-56170e728a80" providerId="ADAL" clId="{BC089EF0-73B2-45CF-A10C-561D2DFB742C}" dt="2023-08-01T00:25:06.097" v="105" actId="207"/>
          <ac:spMkLst>
            <pc:docMk/>
            <pc:sldMk cId="3680790292" sldId="2088198365"/>
            <ac:spMk id="44" creationId="{15BC829E-01A1-E7AD-0313-1CD6D4ADAAE1}"/>
          </ac:spMkLst>
        </pc:spChg>
        <pc:spChg chg="mod">
          <ac:chgData name="Chelci Cox (DEECA)" userId="741e8044-b9a9-4f64-9945-56170e728a80" providerId="ADAL" clId="{BC089EF0-73B2-45CF-A10C-561D2DFB742C}" dt="2023-08-01T00:25:06.097" v="105" actId="207"/>
          <ac:spMkLst>
            <pc:docMk/>
            <pc:sldMk cId="3680790292" sldId="2088198365"/>
            <ac:spMk id="47" creationId="{E7232BF1-AAEA-F35B-D945-017F3F60107E}"/>
          </ac:spMkLst>
        </pc:spChg>
        <pc:spChg chg="mod">
          <ac:chgData name="Chelci Cox (DEECA)" userId="741e8044-b9a9-4f64-9945-56170e728a80" providerId="ADAL" clId="{BC089EF0-73B2-45CF-A10C-561D2DFB742C}" dt="2023-08-01T00:25:10.136" v="107" actId="207"/>
          <ac:spMkLst>
            <pc:docMk/>
            <pc:sldMk cId="3680790292" sldId="2088198365"/>
            <ac:spMk id="49" creationId="{FA44EA5E-1C7D-8422-6910-FE3AED84BC75}"/>
          </ac:spMkLst>
        </pc:spChg>
        <pc:spChg chg="mod">
          <ac:chgData name="Chelci Cox (DEECA)" userId="741e8044-b9a9-4f64-9945-56170e728a80" providerId="ADAL" clId="{BC089EF0-73B2-45CF-A10C-561D2DFB742C}" dt="2023-08-01T00:25:10.136" v="107" actId="207"/>
          <ac:spMkLst>
            <pc:docMk/>
            <pc:sldMk cId="3680790292" sldId="2088198365"/>
            <ac:spMk id="52" creationId="{845F8D6F-E8D3-3CB8-08A1-2B89914EBB61}"/>
          </ac:spMkLst>
        </pc:spChg>
        <pc:spChg chg="mod">
          <ac:chgData name="Chelci Cox (DEECA)" userId="741e8044-b9a9-4f64-9945-56170e728a80" providerId="ADAL" clId="{BC089EF0-73B2-45CF-A10C-561D2DFB742C}" dt="2023-08-01T00:25:13.893" v="108" actId="207"/>
          <ac:spMkLst>
            <pc:docMk/>
            <pc:sldMk cId="3680790292" sldId="2088198365"/>
            <ac:spMk id="54" creationId="{05CBC30F-A2B4-8FC9-5CE4-4A4D55343739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k cId="3680790292" sldId="2088198365"/>
            <ac:spMk id="57" creationId="{77A54CA0-981D-80A4-0E42-A0D56423D7B7}"/>
          </ac:spMkLst>
        </pc:spChg>
        <pc:spChg chg="add mod">
          <ac:chgData name="Chelci Cox (DEECA)" userId="741e8044-b9a9-4f64-9945-56170e728a80" providerId="ADAL" clId="{BC089EF0-73B2-45CF-A10C-561D2DFB742C}" dt="2023-08-01T00:24:25.737" v="97" actId="1076"/>
          <ac:spMkLst>
            <pc:docMk/>
            <pc:sldMk cId="3680790292" sldId="2088198365"/>
            <ac:spMk id="58" creationId="{1516B567-A39C-0D28-AB9D-5DEA3CBF653B}"/>
          </ac:spMkLst>
        </pc:spChg>
        <pc:spChg chg="add mod">
          <ac:chgData name="Chelci Cox (DEECA)" userId="741e8044-b9a9-4f64-9945-56170e728a80" providerId="ADAL" clId="{BC089EF0-73B2-45CF-A10C-561D2DFB742C}" dt="2023-08-01T00:24:33.829" v="98" actId="1076"/>
          <ac:spMkLst>
            <pc:docMk/>
            <pc:sldMk cId="3680790292" sldId="2088198365"/>
            <ac:spMk id="59" creationId="{A2305DD9-A374-AC34-C9E0-DA0F4B79F971}"/>
          </ac:spMkLst>
        </pc:spChg>
        <pc:spChg chg="add mod">
          <ac:chgData name="Chelci Cox (DEECA)" userId="741e8044-b9a9-4f64-9945-56170e728a80" providerId="ADAL" clId="{BC089EF0-73B2-45CF-A10C-561D2DFB742C}" dt="2023-08-01T00:24:55.862" v="102" actId="207"/>
          <ac:spMkLst>
            <pc:docMk/>
            <pc:sldMk cId="3680790292" sldId="2088198365"/>
            <ac:spMk id="60" creationId="{0B469A27-A97D-FBF5-6F4D-5BF584DEC8D2}"/>
          </ac:spMkLst>
        </pc:spChg>
        <pc:spChg chg="add mod">
          <ac:chgData name="Chelci Cox (DEECA)" userId="741e8044-b9a9-4f64-9945-56170e728a80" providerId="ADAL" clId="{BC089EF0-73B2-45CF-A10C-561D2DFB742C}" dt="2023-08-01T00:24:52.866" v="101" actId="207"/>
          <ac:spMkLst>
            <pc:docMk/>
            <pc:sldMk cId="3680790292" sldId="2088198365"/>
            <ac:spMk id="64" creationId="{ACA22238-C2A2-B33A-E017-21D9D083BE15}"/>
          </ac:spMkLst>
        </pc:spChg>
        <pc:spChg chg="add mod">
          <ac:chgData name="Chelci Cox (DEECA)" userId="741e8044-b9a9-4f64-9945-56170e728a80" providerId="ADAL" clId="{BC089EF0-73B2-45CF-A10C-561D2DFB742C}" dt="2023-08-01T00:23:01.178" v="31" actId="1076"/>
          <ac:spMkLst>
            <pc:docMk/>
            <pc:sldMk cId="3680790292" sldId="2088198365"/>
            <ac:spMk id="65" creationId="{39559527-4117-7BC3-10B9-BCA25809AEC4}"/>
          </ac:spMkLst>
        </pc:spChg>
        <pc:spChg chg="add mod">
          <ac:chgData name="Chelci Cox (DEECA)" userId="741e8044-b9a9-4f64-9945-56170e728a80" providerId="ADAL" clId="{BC089EF0-73B2-45CF-A10C-561D2DFB742C}" dt="2023-08-01T00:26:20.233" v="120" actId="14100"/>
          <ac:spMkLst>
            <pc:docMk/>
            <pc:sldMk cId="3680790292" sldId="2088198365"/>
            <ac:spMk id="66" creationId="{F6FA2423-9909-C4F7-95FC-DF853825083C}"/>
          </ac:spMkLst>
        </pc:spChg>
        <pc:grpChg chg="add del mod">
          <ac:chgData name="Chelci Cox (DEECA)" userId="741e8044-b9a9-4f64-9945-56170e728a80" providerId="ADAL" clId="{BC089EF0-73B2-45CF-A10C-561D2DFB742C}" dt="2023-08-01T00:21:11.357" v="7"/>
          <ac:grpSpMkLst>
            <pc:docMk/>
            <pc:sldMk cId="3680790292" sldId="2088198365"/>
            <ac:grpSpMk id="8" creationId="{9267C360-8C2C-63A1-8176-1A85520B886D}"/>
          </ac:grpSpMkLst>
        </pc:grpChg>
        <pc:grpChg chg="add del mod">
          <ac:chgData name="Chelci Cox (DEECA)" userId="741e8044-b9a9-4f64-9945-56170e728a80" providerId="ADAL" clId="{BC089EF0-73B2-45CF-A10C-561D2DFB742C}" dt="2023-08-01T00:21:11.357" v="7"/>
          <ac:grpSpMkLst>
            <pc:docMk/>
            <pc:sldMk cId="3680790292" sldId="2088198365"/>
            <ac:grpSpMk id="14" creationId="{8A3A576F-35D9-B0EB-302C-6DB1928A535E}"/>
          </ac:grpSpMkLst>
        </pc:grpChg>
        <pc:grpChg chg="mod">
          <ac:chgData name="Chelci Cox (DEECA)" userId="741e8044-b9a9-4f64-9945-56170e728a80" providerId="ADAL" clId="{BC089EF0-73B2-45CF-A10C-561D2DFB742C}" dt="2023-08-01T00:21:02.611" v="6"/>
          <ac:grpSpMkLst>
            <pc:docMk/>
            <pc:sldMk cId="3680790292" sldId="2088198365"/>
            <ac:grpSpMk id="16" creationId="{5642E54A-6A01-8AEF-3722-80BED48B89E8}"/>
          </ac:grpSpMkLst>
        </pc:grpChg>
        <pc:grpChg chg="add del mod">
          <ac:chgData name="Chelci Cox (DEECA)" userId="741e8044-b9a9-4f64-9945-56170e728a80" providerId="ADAL" clId="{BC089EF0-73B2-45CF-A10C-561D2DFB742C}" dt="2023-08-01T00:21:11.357" v="7"/>
          <ac:grpSpMkLst>
            <pc:docMk/>
            <pc:sldMk cId="3680790292" sldId="2088198365"/>
            <ac:grpSpMk id="19" creationId="{24299705-3B30-849F-0D18-287F99C0B843}"/>
          </ac:grpSpMkLst>
        </pc:grpChg>
        <pc:grpChg chg="mod">
          <ac:chgData name="Chelci Cox (DEECA)" userId="741e8044-b9a9-4f64-9945-56170e728a80" providerId="ADAL" clId="{BC089EF0-73B2-45CF-A10C-561D2DFB742C}" dt="2023-08-01T00:21:02.611" v="6"/>
          <ac:grpSpMkLst>
            <pc:docMk/>
            <pc:sldMk cId="3680790292" sldId="2088198365"/>
            <ac:grpSpMk id="21" creationId="{6D0BCD56-6471-F675-D33E-74D37D0E513E}"/>
          </ac:grpSpMkLst>
        </pc:grpChg>
        <pc:grpChg chg="add del mod">
          <ac:chgData name="Chelci Cox (DEECA)" userId="741e8044-b9a9-4f64-9945-56170e728a80" providerId="ADAL" clId="{BC089EF0-73B2-45CF-A10C-561D2DFB742C}" dt="2023-08-01T00:21:11.357" v="7"/>
          <ac:grpSpMkLst>
            <pc:docMk/>
            <pc:sldMk cId="3680790292" sldId="2088198365"/>
            <ac:grpSpMk id="24" creationId="{51A07CA4-170B-E91E-8A8A-CF6662CB6796}"/>
          </ac:grpSpMkLst>
        </pc:grpChg>
        <pc:grpChg chg="mod">
          <ac:chgData name="Chelci Cox (DEECA)" userId="741e8044-b9a9-4f64-9945-56170e728a80" providerId="ADAL" clId="{BC089EF0-73B2-45CF-A10C-561D2DFB742C}" dt="2023-08-01T00:21:02.611" v="6"/>
          <ac:grpSpMkLst>
            <pc:docMk/>
            <pc:sldMk cId="3680790292" sldId="2088198365"/>
            <ac:grpSpMk id="26" creationId="{D16F3C39-6CD5-1F62-2CBD-A5ACDCFDC0A4}"/>
          </ac:grpSpMkLst>
        </pc:grpChg>
        <pc:grpChg chg="add mod">
          <ac:chgData name="Chelci Cox (DEECA)" userId="741e8044-b9a9-4f64-9945-56170e728a80" providerId="ADAL" clId="{BC089EF0-73B2-45CF-A10C-561D2DFB742C}" dt="2023-08-01T00:21:25.549" v="11"/>
          <ac:grpSpMkLst>
            <pc:docMk/>
            <pc:sldMk cId="3680790292" sldId="2088198365"/>
            <ac:grpSpMk id="37" creationId="{273B6812-5ACC-6FDB-2936-6E6BC58DAF7F}"/>
          </ac:grpSpMkLst>
        </pc:grpChg>
        <pc:grpChg chg="add mod">
          <ac:chgData name="Chelci Cox (DEECA)" userId="741e8044-b9a9-4f64-9945-56170e728a80" providerId="ADAL" clId="{BC089EF0-73B2-45CF-A10C-561D2DFB742C}" dt="2023-08-01T00:25:06.097" v="105" actId="207"/>
          <ac:grpSpMkLst>
            <pc:docMk/>
            <pc:sldMk cId="3680790292" sldId="2088198365"/>
            <ac:grpSpMk id="43" creationId="{FF657290-4195-8B02-4D42-C3EDBF8D05FB}"/>
          </ac:grpSpMkLst>
        </pc:grpChg>
        <pc:grpChg chg="mod">
          <ac:chgData name="Chelci Cox (DEECA)" userId="741e8044-b9a9-4f64-9945-56170e728a80" providerId="ADAL" clId="{BC089EF0-73B2-45CF-A10C-561D2DFB742C}" dt="2023-08-01T00:25:06.097" v="105" actId="207"/>
          <ac:grpSpMkLst>
            <pc:docMk/>
            <pc:sldMk cId="3680790292" sldId="2088198365"/>
            <ac:grpSpMk id="45" creationId="{00DF88A4-B2A3-E8E3-6DCA-FE255AD866F4}"/>
          </ac:grpSpMkLst>
        </pc:grpChg>
        <pc:grpChg chg="add mod">
          <ac:chgData name="Chelci Cox (DEECA)" userId="741e8044-b9a9-4f64-9945-56170e728a80" providerId="ADAL" clId="{BC089EF0-73B2-45CF-A10C-561D2DFB742C}" dt="2023-08-01T00:25:10.136" v="107" actId="207"/>
          <ac:grpSpMkLst>
            <pc:docMk/>
            <pc:sldMk cId="3680790292" sldId="2088198365"/>
            <ac:grpSpMk id="48" creationId="{B6F4789F-1FD8-3107-21B3-A37762BCC143}"/>
          </ac:grpSpMkLst>
        </pc:grpChg>
        <pc:grpChg chg="mod">
          <ac:chgData name="Chelci Cox (DEECA)" userId="741e8044-b9a9-4f64-9945-56170e728a80" providerId="ADAL" clId="{BC089EF0-73B2-45CF-A10C-561D2DFB742C}" dt="2023-08-01T00:25:10.136" v="107" actId="207"/>
          <ac:grpSpMkLst>
            <pc:docMk/>
            <pc:sldMk cId="3680790292" sldId="2088198365"/>
            <ac:grpSpMk id="50" creationId="{CBD45A29-94BA-CC05-BEB6-4E502D19DFDD}"/>
          </ac:grpSpMkLst>
        </pc:grpChg>
        <pc:grpChg chg="add mod">
          <ac:chgData name="Chelci Cox (DEECA)" userId="741e8044-b9a9-4f64-9945-56170e728a80" providerId="ADAL" clId="{BC089EF0-73B2-45CF-A10C-561D2DFB742C}" dt="2023-08-01T00:21:25.549" v="11"/>
          <ac:grpSpMkLst>
            <pc:docMk/>
            <pc:sldMk cId="3680790292" sldId="2088198365"/>
            <ac:grpSpMk id="53" creationId="{9BF8DC79-AAF6-09FE-BD05-4FF5C3BBD43C}"/>
          </ac:grpSpMkLst>
        </pc:grpChg>
        <pc:grpChg chg="mod">
          <ac:chgData name="Chelci Cox (DEECA)" userId="741e8044-b9a9-4f64-9945-56170e728a80" providerId="ADAL" clId="{BC089EF0-73B2-45CF-A10C-561D2DFB742C}" dt="2023-08-01T00:21:25.549" v="11"/>
          <ac:grpSpMkLst>
            <pc:docMk/>
            <pc:sldMk cId="3680790292" sldId="2088198365"/>
            <ac:grpSpMk id="55" creationId="{6C5B716E-CB6F-C60F-4927-DFBA40789FAD}"/>
          </ac:grpSpMkLst>
        </pc:grpChg>
        <pc:graphicFrameChg chg="mod">
          <ac:chgData name="Chelci Cox (DEECA)" userId="741e8044-b9a9-4f64-9945-56170e728a80" providerId="ADAL" clId="{BC089EF0-73B2-45CF-A10C-561D2DFB742C}" dt="2023-08-01T00:21:25.549" v="11"/>
          <ac:graphicFrameMkLst>
            <pc:docMk/>
            <pc:sldMk cId="3680790292" sldId="2088198365"/>
            <ac:graphicFrameMk id="6" creationId="{7A4DEADB-58C1-A34D-EBB1-27EB8CD8216A}"/>
          </ac:graphicFrameMkLst>
        </pc:graphicFrameChg>
        <pc:graphicFrameChg chg="add del mod">
          <ac:chgData name="Chelci Cox (DEECA)" userId="741e8044-b9a9-4f64-9945-56170e728a80" providerId="ADAL" clId="{BC089EF0-73B2-45CF-A10C-561D2DFB742C}" dt="2023-08-01T00:21:11.357" v="7"/>
          <ac:graphicFrameMkLst>
            <pc:docMk/>
            <pc:sldMk cId="3680790292" sldId="2088198365"/>
            <ac:graphicFrameMk id="12" creationId="{0795EAE2-D739-D82E-7D99-C5EEF015FC9B}"/>
          </ac:graphicFrameMkLst>
        </pc:graphicFrameChg>
        <pc:graphicFrameChg chg="add mod modGraphic">
          <ac:chgData name="Chelci Cox (DEECA)" userId="741e8044-b9a9-4f64-9945-56170e728a80" providerId="ADAL" clId="{BC089EF0-73B2-45CF-A10C-561D2DFB742C}" dt="2023-08-01T00:22:46.963" v="26" actId="1076"/>
          <ac:graphicFrameMkLst>
            <pc:docMk/>
            <pc:sldMk cId="3680790292" sldId="2088198365"/>
            <ac:graphicFrameMk id="41" creationId="{5BF12952-D70A-26CE-1719-9477952C9588}"/>
          </ac:graphicFrameMkLst>
        </pc:graphicFrameChg>
        <pc:picChg chg="add del mod">
          <ac:chgData name="Chelci Cox (DEECA)" userId="741e8044-b9a9-4f64-9945-56170e728a80" providerId="ADAL" clId="{BC089EF0-73B2-45CF-A10C-561D2DFB742C}" dt="2023-08-01T00:21:11.357" v="7"/>
          <ac:picMkLst>
            <pc:docMk/>
            <pc:sldMk cId="3680790292" sldId="2088198365"/>
            <ac:picMk id="32" creationId="{0443645B-70AF-B39B-B2D3-1BD26CEF8EB9}"/>
          </ac:picMkLst>
        </pc:picChg>
        <pc:picChg chg="add del mod">
          <ac:chgData name="Chelci Cox (DEECA)" userId="741e8044-b9a9-4f64-9945-56170e728a80" providerId="ADAL" clId="{BC089EF0-73B2-45CF-A10C-561D2DFB742C}" dt="2023-08-01T00:21:11.357" v="7"/>
          <ac:picMkLst>
            <pc:docMk/>
            <pc:sldMk cId="3680790292" sldId="2088198365"/>
            <ac:picMk id="33" creationId="{B61A1B86-F003-E902-3273-95659D207B63}"/>
          </ac:picMkLst>
        </pc:picChg>
        <pc:picChg chg="add del mod">
          <ac:chgData name="Chelci Cox (DEECA)" userId="741e8044-b9a9-4f64-9945-56170e728a80" providerId="ADAL" clId="{BC089EF0-73B2-45CF-A10C-561D2DFB742C}" dt="2023-08-01T00:21:11.357" v="7"/>
          <ac:picMkLst>
            <pc:docMk/>
            <pc:sldMk cId="3680790292" sldId="2088198365"/>
            <ac:picMk id="34" creationId="{D65CED84-6888-71F1-5E4C-0C62425BEACA}"/>
          </ac:picMkLst>
        </pc:picChg>
        <pc:picChg chg="add mod">
          <ac:chgData name="Chelci Cox (DEECA)" userId="741e8044-b9a9-4f64-9945-56170e728a80" providerId="ADAL" clId="{BC089EF0-73B2-45CF-A10C-561D2DFB742C}" dt="2023-08-01T00:25:21.216" v="111" actId="207"/>
          <ac:picMkLst>
            <pc:docMk/>
            <pc:sldMk cId="3680790292" sldId="2088198365"/>
            <ac:picMk id="61" creationId="{07D80D1D-5662-E8AA-6976-CF31DE983ACD}"/>
          </ac:picMkLst>
        </pc:picChg>
        <pc:picChg chg="add mod">
          <ac:chgData name="Chelci Cox (DEECA)" userId="741e8044-b9a9-4f64-9945-56170e728a80" providerId="ADAL" clId="{BC089EF0-73B2-45CF-A10C-561D2DFB742C}" dt="2023-08-01T00:25:18.869" v="110" actId="207"/>
          <ac:picMkLst>
            <pc:docMk/>
            <pc:sldMk cId="3680790292" sldId="2088198365"/>
            <ac:picMk id="62" creationId="{EB570018-75F9-530B-8B23-0BC60F5D7C53}"/>
          </ac:picMkLst>
        </pc:picChg>
        <pc:picChg chg="add mod">
          <ac:chgData name="Chelci Cox (DEECA)" userId="741e8044-b9a9-4f64-9945-56170e728a80" providerId="ADAL" clId="{BC089EF0-73B2-45CF-A10C-561D2DFB742C}" dt="2023-08-01T00:25:16.479" v="109" actId="207"/>
          <ac:picMkLst>
            <pc:docMk/>
            <pc:sldMk cId="3680790292" sldId="2088198365"/>
            <ac:picMk id="63" creationId="{26E0A3A2-A889-6521-ECFD-E093CD9D097B}"/>
          </ac:picMkLst>
        </pc:picChg>
        <pc:cxnChg chg="mod">
          <ac:chgData name="Chelci Cox (DEECA)" userId="741e8044-b9a9-4f64-9945-56170e728a80" providerId="ADAL" clId="{BC089EF0-73B2-45CF-A10C-561D2DFB742C}" dt="2023-08-01T00:21:02.611" v="6"/>
          <ac:cxnSpMkLst>
            <pc:docMk/>
            <pc:sldMk cId="3680790292" sldId="2088198365"/>
            <ac:cxnSpMk id="9" creationId="{64A55A15-98DE-EFEB-DEFC-B0DFCB4993C5}"/>
          </ac:cxnSpMkLst>
        </pc:cxnChg>
        <pc:cxnChg chg="mod">
          <ac:chgData name="Chelci Cox (DEECA)" userId="741e8044-b9a9-4f64-9945-56170e728a80" providerId="ADAL" clId="{BC089EF0-73B2-45CF-A10C-561D2DFB742C}" dt="2023-08-01T00:21:02.611" v="6"/>
          <ac:cxnSpMkLst>
            <pc:docMk/>
            <pc:sldMk cId="3680790292" sldId="2088198365"/>
            <ac:cxnSpMk id="17" creationId="{32E4CC4C-DF3B-E10E-885D-7D2A14614C50}"/>
          </ac:cxnSpMkLst>
        </pc:cxnChg>
        <pc:cxnChg chg="mod">
          <ac:chgData name="Chelci Cox (DEECA)" userId="741e8044-b9a9-4f64-9945-56170e728a80" providerId="ADAL" clId="{BC089EF0-73B2-45CF-A10C-561D2DFB742C}" dt="2023-08-01T00:21:02.611" v="6"/>
          <ac:cxnSpMkLst>
            <pc:docMk/>
            <pc:sldMk cId="3680790292" sldId="2088198365"/>
            <ac:cxnSpMk id="22" creationId="{B825DE51-D687-1AF0-CBAB-9B1F307EFFD1}"/>
          </ac:cxnSpMkLst>
        </pc:cxnChg>
        <pc:cxnChg chg="mod">
          <ac:chgData name="Chelci Cox (DEECA)" userId="741e8044-b9a9-4f64-9945-56170e728a80" providerId="ADAL" clId="{BC089EF0-73B2-45CF-A10C-561D2DFB742C}" dt="2023-08-01T00:21:02.611" v="6"/>
          <ac:cxnSpMkLst>
            <pc:docMk/>
            <pc:sldMk cId="3680790292" sldId="2088198365"/>
            <ac:cxnSpMk id="27" creationId="{20EA9FB3-5BC4-1216-397D-B1F6F20670A9}"/>
          </ac:cxnSpMkLst>
        </pc:cxnChg>
        <pc:cxnChg chg="mod">
          <ac:chgData name="Chelci Cox (DEECA)" userId="741e8044-b9a9-4f64-9945-56170e728a80" providerId="ADAL" clId="{BC089EF0-73B2-45CF-A10C-561D2DFB742C}" dt="2023-08-01T00:21:25.549" v="11"/>
          <ac:cxnSpMkLst>
            <pc:docMk/>
            <pc:sldMk cId="3680790292" sldId="2088198365"/>
            <ac:cxnSpMk id="38" creationId="{145E64EB-6FAD-1A41-8C81-6DFAB2528F83}"/>
          </ac:cxnSpMkLst>
        </pc:cxnChg>
        <pc:cxnChg chg="mod">
          <ac:chgData name="Chelci Cox (DEECA)" userId="741e8044-b9a9-4f64-9945-56170e728a80" providerId="ADAL" clId="{BC089EF0-73B2-45CF-A10C-561D2DFB742C}" dt="2023-08-01T00:25:06.097" v="105" actId="207"/>
          <ac:cxnSpMkLst>
            <pc:docMk/>
            <pc:sldMk cId="3680790292" sldId="2088198365"/>
            <ac:cxnSpMk id="46" creationId="{DD37751D-A003-CD80-320F-2C92DF7EFBB1}"/>
          </ac:cxnSpMkLst>
        </pc:cxnChg>
        <pc:cxnChg chg="mod">
          <ac:chgData name="Chelci Cox (DEECA)" userId="741e8044-b9a9-4f64-9945-56170e728a80" providerId="ADAL" clId="{BC089EF0-73B2-45CF-A10C-561D2DFB742C}" dt="2023-08-01T00:25:10.136" v="107" actId="207"/>
          <ac:cxnSpMkLst>
            <pc:docMk/>
            <pc:sldMk cId="3680790292" sldId="2088198365"/>
            <ac:cxnSpMk id="51" creationId="{1A0C7EE6-5B78-4E8C-3AB8-3C8CC79DF6E0}"/>
          </ac:cxnSpMkLst>
        </pc:cxnChg>
        <pc:cxnChg chg="mod">
          <ac:chgData name="Chelci Cox (DEECA)" userId="741e8044-b9a9-4f64-9945-56170e728a80" providerId="ADAL" clId="{BC089EF0-73B2-45CF-A10C-561D2DFB742C}" dt="2023-08-01T00:21:25.549" v="11"/>
          <ac:cxnSpMkLst>
            <pc:docMk/>
            <pc:sldMk cId="3680790292" sldId="2088198365"/>
            <ac:cxnSpMk id="56" creationId="{CB5CC3A6-85E6-635E-266C-E2D6B77B9C79}"/>
          </ac:cxnSpMkLst>
        </pc:cxnChg>
      </pc:sldChg>
      <pc:sldMasterChg chg="modSp modSldLayout">
        <pc:chgData name="Chelci Cox (DEECA)" userId="741e8044-b9a9-4f64-9945-56170e728a80" providerId="ADAL" clId="{BC089EF0-73B2-45CF-A10C-561D2DFB742C}" dt="2023-08-01T00:21:25.549" v="11"/>
        <pc:sldMasterMkLst>
          <pc:docMk/>
          <pc:sldMasterMk cId="2559479050" sldId="2147483648"/>
        </pc:sldMasterMkLst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2" creationId="{00000000-0000-0000-0000-00000000000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3" creationId="{00000000-0000-0000-0000-00000000000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4" creationId="{00000000-0000-0000-0000-00000000000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5" creationId="{00000000-0000-0000-0000-00000000000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6" creationId="{00000000-0000-0000-0000-00000000000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8" creationId="{6E50017D-AD62-34A8-01FF-E1B692B215C4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38" creationId="{DEE5F1F6-308B-BAE5-E04C-67ACD64873A7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39" creationId="{ACD74EFB-1EB2-C902-2EB7-7A5AC47A3130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40" creationId="{E7241B76-7122-AE56-0EFB-6DFFD069ADBB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41" creationId="{1AB8811A-2AF9-3D1A-7290-BC7B6EA26CFE}"/>
          </ac:spMkLst>
        </pc:spChg>
        <pc:spChg chg="mod">
          <ac:chgData name="Chelci Cox (DEECA)" userId="741e8044-b9a9-4f64-9945-56170e728a80" providerId="ADAL" clId="{BC089EF0-73B2-45CF-A10C-561D2DFB742C}" dt="2023-08-01T00:21:25.549" v="11"/>
          <ac:spMkLst>
            <pc:docMk/>
            <pc:sldMasterMk cId="2559479050" sldId="2147483648"/>
            <ac:spMk id="42" creationId="{F88C237B-3642-81D4-58BC-F75C75257471}"/>
          </ac:spMkLst>
        </pc:spChg>
        <pc:grpChg chg="mod">
          <ac:chgData name="Chelci Cox (DEECA)" userId="741e8044-b9a9-4f64-9945-56170e728a80" providerId="ADAL" clId="{BC089EF0-73B2-45CF-A10C-561D2DFB742C}" dt="2023-08-01T00:21:25.549" v="11"/>
          <ac:grpSpMkLst>
            <pc:docMk/>
            <pc:sldMasterMk cId="2559479050" sldId="2147483648"/>
            <ac:grpSpMk id="11" creationId="{C0F69CC5-725A-DC9C-EE57-E4195036E597}"/>
          </ac:grpSpMkLst>
        </pc:grpChg>
        <pc:graphicFrameChg chg="mod">
          <ac:chgData name="Chelci Cox (DEECA)" userId="741e8044-b9a9-4f64-9945-56170e728a80" providerId="ADAL" clId="{BC089EF0-73B2-45CF-A10C-561D2DFB742C}" dt="2023-08-01T00:21:25.549" v="11"/>
          <ac:graphicFrameMkLst>
            <pc:docMk/>
            <pc:sldMasterMk cId="2559479050" sldId="2147483648"/>
            <ac:graphicFrameMk id="9" creationId="{67AD34C0-2B69-0CD4-3E46-603BBC6C59EF}"/>
          </ac:graphicFrameMkLst>
        </pc:graphicFrame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1890854551" sldId="2147483650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890854551" sldId="2147483650"/>
              <ac:spMk id="7" creationId="{90448248-0EB9-324F-5283-E3BF1DCAAEC8}"/>
            </ac:spMkLst>
          </pc:spChg>
          <pc:graphicFrameChg chg="mod">
            <ac:chgData name="Chelci Cox (DEECA)" userId="741e8044-b9a9-4f64-9945-56170e728a80" providerId="ADAL" clId="{BC089EF0-73B2-45CF-A10C-561D2DFB742C}" dt="2023-08-01T00:21:25.549" v="11"/>
            <ac:graphicFrameMkLst>
              <pc:docMk/>
              <pc:sldMasterMk cId="2559479050" sldId="2147483648"/>
              <pc:sldLayoutMk cId="1890854551" sldId="2147483650"/>
              <ac:graphicFrameMk id="4" creationId="{1EF60952-EFEB-073A-2890-058D4ABDFEC4}"/>
            </ac:graphicFrameMkLst>
          </pc:graphicFrame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3318806855" sldId="2147483652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318806855" sldId="2147483652"/>
              <ac:spMk id="3" creationId="{00000000-0000-0000-0000-000000000000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318806855" sldId="2147483652"/>
              <ac:spMk id="4" creationId="{00000000-0000-0000-0000-000000000000}"/>
            </ac:spMkLst>
          </pc:sp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2048692283" sldId="2147483662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" creationId="{832AE132-488B-C489-A635-15025EFDB9E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10" creationId="{D39926BE-0D9D-4400-A90E-88C8BB726BE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11" creationId="{36FDE619-A8FC-4AAE-B02B-476D7475B93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39" creationId="{B3F9F954-4071-0FCB-A8F6-174F333AE25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46" creationId="{83821572-8A3F-6B76-EC63-FFFF39B4D8E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48" creationId="{7147DF2A-84C9-29DC-6E61-6969EC837D5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52" creationId="{E1058DF6-0B4D-4561-F410-CF4A6EC5587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55" creationId="{BD8D172D-4A33-0DD4-E56D-113639EAFAE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56" creationId="{4E22A3CD-7A86-3297-24D4-607873FB419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0" creationId="{7B6F0F54-9CE1-47BC-8BB5-F63D9769A8E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1" creationId="{2DD25AD8-4B3B-5469-2A0A-638B0947814E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2" creationId="{D4E0CD83-95C3-6463-68B5-540D5EFFF7BA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3" creationId="{245E7C8D-18CE-D16D-EBFC-B55D24729C2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5" creationId="{430465A8-B110-5F4A-EF48-43014E78D4D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048692283" sldId="2147483662"/>
              <ac:spMk id="67" creationId="{6711808D-4AD1-4428-129E-131055EC5C88}"/>
            </ac:spMkLst>
          </pc:sp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2048692283" sldId="2147483662"/>
              <ac:cxnSpMk id="7" creationId="{70FF2009-CFB8-CF28-3413-0B4284833D97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296187783" sldId="2147483664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96187783" sldId="2147483664"/>
              <ac:spMk id="3" creationId="{564EBA4A-B347-103C-AA7B-74A81B6E6CA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96187783" sldId="2147483664"/>
              <ac:spMk id="8" creationId="{0DFAE338-542F-062A-113E-84D5DEAC929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96187783" sldId="2147483664"/>
              <ac:spMk id="10" creationId="{3399DAD4-A874-4EAB-AB3C-820568E6E78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96187783" sldId="2147483664"/>
              <ac:spMk id="11" creationId="{3B49C342-B9AA-BE4C-DBA6-A414FD6F6656}"/>
            </ac:spMkLst>
          </pc:sp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2429438772" sldId="2147483670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24" creationId="{6B334685-C921-7BF8-BD42-E66D7F73CDE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51" creationId="{15537C9B-4C25-A668-540C-915BC5DCFBD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52" creationId="{E6AA8BCE-511F-1556-14D4-2884B2E45DD0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53" creationId="{6B539416-25CC-C2D3-72E7-4C65BD51B5A1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54" creationId="{AE37A05A-1CA9-47EB-3D17-768B91E48B21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57" creationId="{6A384F39-0A4B-B0FD-E107-CEA48918071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66" creationId="{3A422AEC-8593-2ABB-3C00-C4F91727399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67" creationId="{AC33B5E6-8F3D-5E3E-7D9A-EAFBCDBAC63A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68" creationId="{5CB1A71F-769E-D0CB-FA51-63EAE73B574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29438772" sldId="2147483670"/>
              <ac:spMk id="69" creationId="{54C5F44E-C5F1-3D65-009F-DB234152592E}"/>
            </ac:spMkLst>
          </pc:spChg>
          <pc:graphicFrameChg chg="mod">
            <ac:chgData name="Chelci Cox (DEECA)" userId="741e8044-b9a9-4f64-9945-56170e728a80" providerId="ADAL" clId="{BC089EF0-73B2-45CF-A10C-561D2DFB742C}" dt="2023-08-01T00:21:25.549" v="11"/>
            <ac:graphicFrameMkLst>
              <pc:docMk/>
              <pc:sldMasterMk cId="2559479050" sldId="2147483648"/>
              <pc:sldLayoutMk cId="2429438772" sldId="2147483670"/>
              <ac:graphicFrameMk id="2" creationId="{068F1505-58BD-8D89-BAFD-46D28C627B36}"/>
            </ac:graphicFrameMkLst>
          </pc:graphicFrameChg>
          <pc:picChg chg="mod">
            <ac:chgData name="Chelci Cox (DEECA)" userId="741e8044-b9a9-4f64-9945-56170e728a80" providerId="ADAL" clId="{BC089EF0-73B2-45CF-A10C-561D2DFB742C}" dt="2023-08-01T00:21:25.549" v="11"/>
            <ac:picMkLst>
              <pc:docMk/>
              <pc:sldMasterMk cId="2559479050" sldId="2147483648"/>
              <pc:sldLayoutMk cId="2429438772" sldId="2147483670"/>
              <ac:picMk id="19" creationId="{28DD7BC2-4298-2530-CB9E-B3B21FD37D0F}"/>
            </ac:picMkLst>
          </pc:pic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2429438772" sldId="2147483670"/>
              <ac:cxnSpMk id="70" creationId="{A224B4F1-853F-0203-EE31-DF5D42CD7C16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896410141" sldId="2147483677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6" creationId="{61B08C00-0226-56F5-FDD7-5FA0EF3DB3D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8" creationId="{1F1CE9E1-B56A-8EC2-7642-3210B9EB7C8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9" creationId="{DCC001F1-4860-1CC5-8CBC-225BC0A9D23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10" creationId="{A5B08A13-0E33-5FD8-469F-81F11D14C90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16" creationId="{E9193096-0970-2A9D-D1E9-19E1B557CC8D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17" creationId="{F401E06B-775A-30BB-3913-21352C520CFE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18" creationId="{4A622ED0-B24F-3B6E-F173-57D708F0907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19" creationId="{08AA25C4-22B1-CB03-84BA-7BD988A74B2E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96410141" sldId="2147483677"/>
              <ac:spMk id="24" creationId="{6B334685-C921-7BF8-BD42-E66D7F73CDEC}"/>
            </ac:spMkLst>
          </pc:spChg>
          <pc:picChg chg="mod">
            <ac:chgData name="Chelci Cox (DEECA)" userId="741e8044-b9a9-4f64-9945-56170e728a80" providerId="ADAL" clId="{BC089EF0-73B2-45CF-A10C-561D2DFB742C}" dt="2023-08-01T00:21:25.549" v="11"/>
            <ac:picMkLst>
              <pc:docMk/>
              <pc:sldMasterMk cId="2559479050" sldId="2147483648"/>
              <pc:sldLayoutMk cId="896410141" sldId="2147483677"/>
              <ac:picMk id="20" creationId="{71028729-A80B-CFBD-7F6F-30AE34098505}"/>
            </ac:picMkLst>
          </pc:pic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896410141" sldId="2147483677"/>
              <ac:cxnSpMk id="27" creationId="{6F0F89C6-5D9B-55DA-9539-83F396DFFBA1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1143258574" sldId="2147483678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10" creationId="{A13DD76C-B0DF-5844-46E8-ACA7008494D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15" creationId="{8CF85D78-FC0B-F4EA-1EF4-C857106FD94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17" creationId="{FD4EB4A5-D3CA-B552-1419-ADCF6DC9E32A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18" creationId="{B6351E1D-0587-2E7B-55B8-06B2E8737F9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20" creationId="{02C71BA1-4727-3A94-C697-2772234AF9F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21" creationId="{D8F58367-9BE9-C43F-398C-868E3E4B9FF4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22" creationId="{48FE88D8-DD84-A127-C179-33FF11FEAF6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24" creationId="{6B334685-C921-7BF8-BD42-E66D7F73CDE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38" creationId="{2DCABD5A-B67F-F174-BA18-01F969DC1B6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40" creationId="{5B925039-3386-9DB3-1F58-4C26FF27836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43258574" sldId="2147483678"/>
              <ac:spMk id="42" creationId="{3FD0863A-B744-BA87-F617-4BBA1966EEB8}"/>
            </ac:spMkLst>
          </pc:spChg>
          <pc:picChg chg="mod">
            <ac:chgData name="Chelci Cox (DEECA)" userId="741e8044-b9a9-4f64-9945-56170e728a80" providerId="ADAL" clId="{BC089EF0-73B2-45CF-A10C-561D2DFB742C}" dt="2023-08-01T00:21:25.549" v="11"/>
            <ac:picMkLst>
              <pc:docMk/>
              <pc:sldMasterMk cId="2559479050" sldId="2147483648"/>
              <pc:sldLayoutMk cId="1143258574" sldId="2147483678"/>
              <ac:picMk id="16" creationId="{EF67C86E-C469-E935-8F6B-B956C4B551E0}"/>
            </ac:picMkLst>
          </pc:pic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1143258574" sldId="2147483678"/>
              <ac:cxnSpMk id="2" creationId="{28BBBDA6-519A-05D0-4F6B-24B47AD172E0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827575573" sldId="2147483680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2" creationId="{AD48F861-7E55-A416-6C10-E8F443B1817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3" creationId="{11278E5F-8266-8988-9BC9-757920918B9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4" creationId="{88179413-F21E-6F8B-5621-FD6158E128DD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5" creationId="{49494BD2-F017-377F-E9DC-49A72415A2B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6" creationId="{1E325ACC-A39B-5A9C-08D1-4350B6146F6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7" creationId="{33DAFE03-848B-544C-E0CD-10F5B65621C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8" creationId="{761D47B5-1DCF-DEA5-AD5A-A87DBB4A210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9" creationId="{42C733FE-249E-F4B6-97A5-9BDCDC7F587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12" creationId="{053C4647-9866-8687-AC61-706DD630EC1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14" creationId="{92D11F13-254D-EE69-56CC-3A9083BCD90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16" creationId="{B23DDCEF-71FC-3732-8A04-4455123CB7A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18" creationId="{65BB121C-7A8C-12E6-80A7-C9F5E008296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19" creationId="{16DD6E17-2BA5-2E07-079F-711BDFC6475F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827575573" sldId="2147483680"/>
              <ac:spMk id="22" creationId="{E478B37A-93E5-3050-AED1-1AE614E5E923}"/>
            </ac:spMkLst>
          </pc:sp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827575573" sldId="2147483680"/>
              <ac:cxnSpMk id="13" creationId="{4CA80ADE-153B-89EB-C45C-110A3EAD8DEA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1101104715" sldId="2147483681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01104715" sldId="2147483681"/>
              <ac:spMk id="3" creationId="{564EBA4A-B347-103C-AA7B-74A81B6E6CA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01104715" sldId="2147483681"/>
              <ac:spMk id="7" creationId="{F2C391D5-CDF7-2EA7-BE15-53AD611FD5D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101104715" sldId="2147483681"/>
              <ac:spMk id="29" creationId="{84F04595-8F0F-9159-49EE-2EF24C129E8A}"/>
            </ac:spMkLst>
          </pc:sp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313733521" sldId="2147483689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4" creationId="{AAEE8CEF-2A9A-A284-2ECE-73C5016C2E10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7" creationId="{A3082BF0-ED0B-5BEB-3CD5-ED3CAB19DA90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9" creationId="{A6F139C8-B6EF-5B84-13D9-F8ADEBD2FCB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16" creationId="{6230822B-F962-DB00-EE97-E4256C54DAD4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18" creationId="{682D5331-408D-EF45-7B7C-C5B7E1DA757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19" creationId="{A3A3D436-8180-38F3-59D6-0BA3DD774A4D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22" creationId="{E478B37A-93E5-3050-AED1-1AE614E5E92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26" creationId="{41BC3F22-BF2C-9936-4961-258371143F9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27" creationId="{2315349F-5DCB-7C77-ADF4-93BBD78D466D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28" creationId="{1407844C-B43F-E7F1-25BB-730A42F8C798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29" creationId="{B44498DC-53F4-4976-1118-A8506276F41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30" creationId="{578D3637-7058-A75F-A9AF-CA3F50EE0F9E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31" creationId="{2837DE7F-B0A0-98EB-E050-22BBFBCCB4C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36" creationId="{A0C810F8-DFAB-09FF-9C62-9FCB8ECA197D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13733521" sldId="2147483689"/>
              <ac:spMk id="40" creationId="{24349991-AE8C-CA92-BF55-D82BA54DBCB2}"/>
            </ac:spMkLst>
          </pc:sp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313733521" sldId="2147483689"/>
              <ac:cxnSpMk id="5" creationId="{0A814517-E33B-AFFF-52E3-DE0C61785E9A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1219079681" sldId="2147483690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4" creationId="{5B3127AF-A3C2-5832-887E-D39B1157476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22" creationId="{E478B37A-93E5-3050-AED1-1AE614E5E92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31" creationId="{775179C6-69B1-0B86-138C-7F7820A4F21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35" creationId="{E716590E-9291-B2F9-3AA6-85CA4C91DBB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36" creationId="{4D003B98-C3EA-C7FE-AD96-45DA60D8E70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37" creationId="{D57C1E03-A62F-F5AC-8A66-6F45EDC2210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41" creationId="{CAB36581-B79B-989F-D79E-A149C37E497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42" creationId="{2A95F71B-5627-FFA8-5C56-3B3CD5D0578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44" creationId="{DE084157-4075-0FD5-6E63-97A51B858EB1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57" creationId="{01DA6775-E0B6-7D84-E7B3-F5EA83C0777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58" creationId="{358FAFA3-856C-CF17-8001-FFF4AC2A7BB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61" creationId="{DF617F1A-5E2A-826F-24C7-FBF92E02D62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1219079681" sldId="2147483690"/>
              <ac:spMk id="62" creationId="{FF92AA7A-2C80-1E59-C936-ABFC69615300}"/>
            </ac:spMkLst>
          </pc:sp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1219079681" sldId="2147483690"/>
              <ac:cxnSpMk id="5" creationId="{FCFDF05C-52EC-6D95-72CD-C8B91309F21D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3465406550" sldId="2147483691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465406550" sldId="2147483691"/>
              <ac:spMk id="4" creationId="{2D2EE1AF-A60C-0DAE-29BA-0F1D2FBF76CB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3465406550" sldId="2147483691"/>
              <ac:spMk id="7" creationId="{90448248-0EB9-324F-5283-E3BF1DCAAEC8}"/>
            </ac:spMkLst>
          </pc:sp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243654013" sldId="2147483692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18" creationId="{E7A27014-865C-F1D4-CAF7-08476B875D1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20" creationId="{660CC324-D8B6-FA03-A350-EA9CC846ABF1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24" creationId="{6B334685-C921-7BF8-BD42-E66D7F73CDEC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0" creationId="{78EBBF75-4777-D465-98BA-F612C441DE8E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1" creationId="{5797021D-985E-0973-26CF-15DF5174812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2" creationId="{EB2E7923-7ED8-1CD8-94BA-243F169D2D8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5" creationId="{022B79C5-62BF-CA09-6885-DE822CF41B7A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7" creationId="{CFB86533-F1A5-7166-E415-5B35F9186D90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39" creationId="{6599D0EC-660D-FC34-6C21-DA20DC3AEAB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43654013" sldId="2147483692"/>
              <ac:spMk id="61" creationId="{BB41F336-5118-C5C9-E8E5-6A5CCDE66F58}"/>
            </ac:spMkLst>
          </pc:spChg>
          <pc:picChg chg="mod">
            <ac:chgData name="Chelci Cox (DEECA)" userId="741e8044-b9a9-4f64-9945-56170e728a80" providerId="ADAL" clId="{BC089EF0-73B2-45CF-A10C-561D2DFB742C}" dt="2023-08-01T00:21:25.549" v="11"/>
            <ac:picMkLst>
              <pc:docMk/>
              <pc:sldMasterMk cId="2559479050" sldId="2147483648"/>
              <pc:sldLayoutMk cId="243654013" sldId="2147483692"/>
              <ac:picMk id="26" creationId="{3D3D7C47-BE68-07DE-DF7D-956176BFA7C5}"/>
            </ac:picMkLst>
          </pc:pic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243654013" sldId="2147483692"/>
              <ac:cxnSpMk id="19" creationId="{FA7A3D40-02AD-DBB9-335F-21278C945676}"/>
            </ac:cxnSpMkLst>
          </pc:cxnChg>
        </pc:sldLayoutChg>
        <pc:sldLayoutChg chg="modSp">
          <pc:chgData name="Chelci Cox (DEECA)" userId="741e8044-b9a9-4f64-9945-56170e728a80" providerId="ADAL" clId="{BC089EF0-73B2-45CF-A10C-561D2DFB742C}" dt="2023-08-01T00:21:25.549" v="11"/>
          <pc:sldLayoutMkLst>
            <pc:docMk/>
            <pc:sldMasterMk cId="2559479050" sldId="2147483648"/>
            <pc:sldLayoutMk cId="2779855458" sldId="2147483693"/>
          </pc:sldLayoutMkLst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4" creationId="{DD344425-4162-E229-2E19-2924591FFEC4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22" creationId="{E478B37A-93E5-3050-AED1-1AE614E5E923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31" creationId="{775179C6-69B1-0B86-138C-7F7820A4F21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35" creationId="{E716590E-9291-B2F9-3AA6-85CA4C91DBB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36" creationId="{4D003B98-C3EA-C7FE-AD96-45DA60D8E70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37" creationId="{D57C1E03-A62F-F5AC-8A66-6F45EDC2210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41" creationId="{CAB36581-B79B-989F-D79E-A149C37E4972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42" creationId="{2A95F71B-5627-FFA8-5C56-3B3CD5D05787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44" creationId="{DE084157-4075-0FD5-6E63-97A51B858EB1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57" creationId="{01DA6775-E0B6-7D84-E7B3-F5EA83C07776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58" creationId="{358FAFA3-856C-CF17-8001-FFF4AC2A7BB5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61" creationId="{DF617F1A-5E2A-826F-24C7-FBF92E02D629}"/>
            </ac:spMkLst>
          </pc:spChg>
          <pc:spChg chg="mod">
            <ac:chgData name="Chelci Cox (DEECA)" userId="741e8044-b9a9-4f64-9945-56170e728a80" providerId="ADAL" clId="{BC089EF0-73B2-45CF-A10C-561D2DFB742C}" dt="2023-08-01T00:21:25.549" v="11"/>
            <ac:spMkLst>
              <pc:docMk/>
              <pc:sldMasterMk cId="2559479050" sldId="2147483648"/>
              <pc:sldLayoutMk cId="2779855458" sldId="2147483693"/>
              <ac:spMk id="62" creationId="{FF92AA7A-2C80-1E59-C936-ABFC69615300}"/>
            </ac:spMkLst>
          </pc:spChg>
          <pc:cxnChg chg="mod">
            <ac:chgData name="Chelci Cox (DEECA)" userId="741e8044-b9a9-4f64-9945-56170e728a80" providerId="ADAL" clId="{BC089EF0-73B2-45CF-A10C-561D2DFB742C}" dt="2023-08-01T00:21:25.549" v="11"/>
            <ac:cxnSpMkLst>
              <pc:docMk/>
              <pc:sldMasterMk cId="2559479050" sldId="2147483648"/>
              <pc:sldLayoutMk cId="2779855458" sldId="2147483693"/>
              <ac:cxnSpMk id="5" creationId="{77E5F0D0-1852-1373-EF05-D7B4A6041F22}"/>
            </ac:cxnSpMkLst>
          </pc:cxn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CD3B2-4D7A-4E7B-BDA7-2DB5BDD53175}" type="datetimeFigureOut">
              <a:rPr lang="en-AU" smtClean="0"/>
              <a:t>1/08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4C1774-FB25-401F-8CDD-2DAF6D4705F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89712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8F1505-58BD-8D89-BAFD-46D28C627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402008"/>
              </p:ext>
            </p:extLst>
          </p:nvPr>
        </p:nvGraphicFramePr>
        <p:xfrm>
          <a:off x="1497" y="1588"/>
          <a:ext cx="149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8F1505-58BD-8D89-BAFD-46D28C627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97" y="1588"/>
                        <a:ext cx="149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5537C9B-4C25-A668-540C-915BC5DCFBDF}"/>
              </a:ext>
            </a:extLst>
          </p:cNvPr>
          <p:cNvSpPr/>
          <p:nvPr userDrawn="1"/>
        </p:nvSpPr>
        <p:spPr>
          <a:xfrm>
            <a:off x="0" y="2461966"/>
            <a:ext cx="10086186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5449" y="614695"/>
            <a:ext cx="5059359" cy="1587333"/>
          </a:xfrm>
        </p:spPr>
        <p:txBody>
          <a:bodyPr/>
          <a:lstStyle>
            <a:lvl1pPr marL="0" indent="0" algn="l">
              <a:buNone/>
              <a:defRPr sz="2562" b="0">
                <a:solidFill>
                  <a:schemeClr val="accent6"/>
                </a:solidFill>
              </a:defRPr>
            </a:lvl1pPr>
            <a:lvl2pPr marL="0" indent="0" algn="l">
              <a:buNone/>
              <a:defRPr sz="1901" b="0">
                <a:solidFill>
                  <a:schemeClr val="accent6"/>
                </a:solidFill>
              </a:defRPr>
            </a:lvl2pPr>
            <a:lvl3pPr marL="0" indent="0" algn="l">
              <a:buNone/>
              <a:defRPr sz="1901" b="0">
                <a:solidFill>
                  <a:schemeClr val="accent6"/>
                </a:solidFill>
              </a:defRPr>
            </a:lvl3pPr>
            <a:lvl4pPr marL="0" indent="0" algn="l">
              <a:buNone/>
              <a:defRPr sz="1901" b="0">
                <a:solidFill>
                  <a:schemeClr val="accent6"/>
                </a:solidFill>
              </a:defRPr>
            </a:lvl4pPr>
            <a:lvl5pPr marL="0" indent="0" algn="l">
              <a:buNone/>
              <a:defRPr sz="1901" b="0">
                <a:solidFill>
                  <a:schemeClr val="accent6"/>
                </a:solidFill>
              </a:defRPr>
            </a:lvl5pPr>
            <a:lvl6pPr marL="0" indent="0" algn="l">
              <a:buNone/>
              <a:defRPr sz="1901" b="0">
                <a:solidFill>
                  <a:schemeClr val="accent6"/>
                </a:solidFill>
              </a:defRPr>
            </a:lvl6pPr>
            <a:lvl7pPr marL="0" indent="0" algn="l">
              <a:buNone/>
              <a:defRPr sz="1901" b="0">
                <a:solidFill>
                  <a:schemeClr val="accent6"/>
                </a:solidFill>
              </a:defRPr>
            </a:lvl7pPr>
            <a:lvl8pPr marL="0" indent="0" algn="l">
              <a:buNone/>
              <a:defRPr sz="1901" b="0">
                <a:solidFill>
                  <a:schemeClr val="accent6"/>
                </a:solidFill>
              </a:defRPr>
            </a:lvl8pPr>
            <a:lvl9pPr marL="0" indent="0" algn="l">
              <a:buNone/>
              <a:defRPr sz="1901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DD9C57-C900-FB86-2C43-875E69AA3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5E74D0-2044-8BDA-EA8E-0C5A69005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8DD7BC2-4298-2530-CB9E-B3B21FD37D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30986" y="997349"/>
            <a:ext cx="1849089" cy="567943"/>
          </a:xfrm>
          <a:prstGeom prst="rect">
            <a:avLst/>
          </a:prstGeom>
        </p:spPr>
      </p:pic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6AA8BCE-511F-1556-14D4-2884B2E45DD0}"/>
              </a:ext>
            </a:extLst>
          </p:cNvPr>
          <p:cNvSpPr/>
          <p:nvPr userDrawn="1"/>
        </p:nvSpPr>
        <p:spPr>
          <a:xfrm>
            <a:off x="5107559" y="4374"/>
            <a:ext cx="286510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6B539416-25CC-C2D3-72E7-4C65BD51B5A1}"/>
              </a:ext>
            </a:extLst>
          </p:cNvPr>
          <p:cNvSpPr/>
          <p:nvPr userDrawn="1"/>
        </p:nvSpPr>
        <p:spPr>
          <a:xfrm>
            <a:off x="5672405" y="2466727"/>
            <a:ext cx="1132910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AE37A05A-1CA9-47EB-3D17-768B91E48B21}"/>
              </a:ext>
            </a:extLst>
          </p:cNvPr>
          <p:cNvSpPr/>
          <p:nvPr userDrawn="1"/>
        </p:nvSpPr>
        <p:spPr>
          <a:xfrm>
            <a:off x="4544394" y="2466727"/>
            <a:ext cx="1691178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A384F39-0A4B-B0FD-E107-CEA489180716}"/>
              </a:ext>
            </a:extLst>
          </p:cNvPr>
          <p:cNvSpPr/>
          <p:nvPr userDrawn="1"/>
        </p:nvSpPr>
        <p:spPr>
          <a:xfrm>
            <a:off x="7039935" y="5342483"/>
            <a:ext cx="2154394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3A422AEC-8593-2ABB-3C00-C4F91727399C}"/>
              </a:ext>
            </a:extLst>
          </p:cNvPr>
          <p:cNvSpPr/>
          <p:nvPr userDrawn="1"/>
        </p:nvSpPr>
        <p:spPr>
          <a:xfrm>
            <a:off x="6112243" y="5338110"/>
            <a:ext cx="2366194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AC33B5E6-8F3D-5E3E-7D9A-EAFBCDBAC63A}"/>
              </a:ext>
            </a:extLst>
          </p:cNvPr>
          <p:cNvSpPr/>
          <p:nvPr userDrawn="1"/>
        </p:nvSpPr>
        <p:spPr>
          <a:xfrm>
            <a:off x="6316906" y="5338112"/>
            <a:ext cx="1438923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54C5F44E-C5F1-3D65-009F-DB234152592E}"/>
              </a:ext>
            </a:extLst>
          </p:cNvPr>
          <p:cNvSpPr/>
          <p:nvPr userDrawn="1"/>
        </p:nvSpPr>
        <p:spPr>
          <a:xfrm>
            <a:off x="5986256" y="6861384"/>
            <a:ext cx="1769571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224B4F1-853F-0203-EE31-DF5D42CD7C16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5CB1A71F-769E-D0CB-FA51-63EAE73B574F}"/>
              </a:ext>
            </a:extLst>
          </p:cNvPr>
          <p:cNvSpPr/>
          <p:nvPr userDrawn="1"/>
        </p:nvSpPr>
        <p:spPr>
          <a:xfrm>
            <a:off x="7039937" y="5338112"/>
            <a:ext cx="2154394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4387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3F9F954-4071-0FCB-A8F6-174F333AE253}"/>
              </a:ext>
            </a:extLst>
          </p:cNvPr>
          <p:cNvSpPr/>
          <p:nvPr/>
        </p:nvSpPr>
        <p:spPr>
          <a:xfrm>
            <a:off x="0" y="693807"/>
            <a:ext cx="10075962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rgbClr val="00B1A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7B6F0F54-9CE1-47BC-8BB5-F63D9769A8E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715530" y="693807"/>
            <a:ext cx="6360292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9926BE-0D9D-4400-A90E-88C8BB726B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71" y="2675710"/>
            <a:ext cx="4166532" cy="1587333"/>
          </a:xfrm>
        </p:spPr>
        <p:txBody>
          <a:bodyPr/>
          <a:lstStyle>
            <a:lvl1pPr marL="0" indent="0" algn="l">
              <a:buNone/>
              <a:defRPr sz="1901" b="0">
                <a:solidFill>
                  <a:schemeClr val="bg1"/>
                </a:solidFill>
              </a:defRPr>
            </a:lvl1pPr>
            <a:lvl2pPr marL="0" indent="0" algn="l">
              <a:buNone/>
              <a:defRPr sz="1901" b="0">
                <a:solidFill>
                  <a:schemeClr val="accent3"/>
                </a:solidFill>
              </a:defRPr>
            </a:lvl2pPr>
            <a:lvl3pPr marL="0" indent="0" algn="l">
              <a:buNone/>
              <a:defRPr sz="1901" b="0">
                <a:solidFill>
                  <a:schemeClr val="bg1"/>
                </a:solidFill>
              </a:defRPr>
            </a:lvl3pPr>
            <a:lvl4pPr marL="0" indent="0" algn="l">
              <a:buNone/>
              <a:defRPr sz="1901" b="0">
                <a:solidFill>
                  <a:schemeClr val="bg1"/>
                </a:solidFill>
              </a:defRPr>
            </a:lvl4pPr>
            <a:lvl5pPr marL="0" indent="0" algn="l">
              <a:buNone/>
              <a:defRPr sz="1901" b="0">
                <a:solidFill>
                  <a:schemeClr val="bg1"/>
                </a:solidFill>
              </a:defRPr>
            </a:lvl5pPr>
            <a:lvl6pPr marL="0" indent="0" algn="l">
              <a:buNone/>
              <a:defRPr sz="1901" b="0">
                <a:solidFill>
                  <a:schemeClr val="bg1"/>
                </a:solidFill>
              </a:defRPr>
            </a:lvl6pPr>
            <a:lvl7pPr marL="0" indent="0" algn="l">
              <a:buNone/>
              <a:defRPr sz="1901" b="0">
                <a:solidFill>
                  <a:schemeClr val="bg1"/>
                </a:solidFill>
              </a:defRPr>
            </a:lvl7pPr>
            <a:lvl8pPr marL="0" indent="0" algn="l">
              <a:buNone/>
              <a:defRPr sz="1901" b="0">
                <a:solidFill>
                  <a:schemeClr val="bg1"/>
                </a:solidFill>
              </a:defRPr>
            </a:lvl8pPr>
            <a:lvl9pPr marL="0" indent="0" algn="l">
              <a:buNone/>
              <a:defRPr sz="1901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6FDE619-A8FC-4AAE-B02B-476D7475B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448" y="1391815"/>
            <a:ext cx="4166532" cy="1190500"/>
          </a:xfrm>
        </p:spPr>
        <p:txBody>
          <a:bodyPr anchor="b" anchorCtr="0"/>
          <a:lstStyle>
            <a:lvl1pPr>
              <a:defRPr sz="25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2DD25AD8-4B3B-5469-2A0A-638B094781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30191" y="693804"/>
            <a:ext cx="976126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D4E0CD83-95C3-6463-68B5-540D5EFFF7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1917" y="693803"/>
            <a:ext cx="976126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1058DF6-0B4D-4561-F410-CF4A6EC5587F}"/>
              </a:ext>
            </a:extLst>
          </p:cNvPr>
          <p:cNvSpPr/>
          <p:nvPr/>
        </p:nvSpPr>
        <p:spPr>
          <a:xfrm>
            <a:off x="7114824" y="6857740"/>
            <a:ext cx="1456841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rgbClr val="53565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83821572-8A3F-6B76-EC63-FFFF39B4D8E2}"/>
              </a:ext>
            </a:extLst>
          </p:cNvPr>
          <p:cNvSpPr/>
          <p:nvPr/>
        </p:nvSpPr>
        <p:spPr>
          <a:xfrm>
            <a:off x="6630051" y="-4064"/>
            <a:ext cx="1305375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7147DF2A-84C9-29DC-6E61-6969EC837D59}"/>
              </a:ext>
            </a:extLst>
          </p:cNvPr>
          <p:cNvSpPr/>
          <p:nvPr/>
        </p:nvSpPr>
        <p:spPr>
          <a:xfrm>
            <a:off x="7118045" y="693807"/>
            <a:ext cx="488133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BD8D172D-4A33-0DD4-E56D-113639EAFAE9}"/>
              </a:ext>
            </a:extLst>
          </p:cNvPr>
          <p:cNvSpPr/>
          <p:nvPr/>
        </p:nvSpPr>
        <p:spPr>
          <a:xfrm>
            <a:off x="354030" y="6857741"/>
            <a:ext cx="9728091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4E22A3CD-7A86-3297-24D4-607873FB419F}"/>
              </a:ext>
            </a:extLst>
          </p:cNvPr>
          <p:cNvSpPr/>
          <p:nvPr/>
        </p:nvSpPr>
        <p:spPr>
          <a:xfrm>
            <a:off x="350951" y="-4064"/>
            <a:ext cx="9728091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45E7C8D-18CE-D16D-EBFC-B55D24729C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53923" y="693803"/>
            <a:ext cx="1464261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30465A8-B110-5F4A-EF48-43014E78D4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45191" y="5666674"/>
            <a:ext cx="1691599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6711808D-4AD1-4428-129E-131055EC5C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11719" y="5666674"/>
            <a:ext cx="1684880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6E9CC3-6786-46BB-D73B-768CE7C9405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AE132-488B-C489-A635-15025EFDB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0FF2009-CFB8-CF28-3413-0B4284833D97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692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-form: Shape 3">
            <a:extLst>
              <a:ext uri="{FF2B5EF4-FFF2-40B4-BE49-F238E27FC236}">
                <a16:creationId xmlns:a16="http://schemas.microsoft.com/office/drawing/2014/main" id="{88179413-F21E-6F8B-5621-FD6158E128DD}"/>
              </a:ext>
            </a:extLst>
          </p:cNvPr>
          <p:cNvSpPr/>
          <p:nvPr userDrawn="1"/>
        </p:nvSpPr>
        <p:spPr>
          <a:xfrm>
            <a:off x="0" y="693807"/>
            <a:ext cx="10075962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9494BD2-F017-377F-E9DC-49A72415A2B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715530" y="693807"/>
            <a:ext cx="6360292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325ACC-A39B-5A9C-08D1-4350B6146F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30191" y="693804"/>
            <a:ext cx="976126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DAFE03-848B-544C-E0CD-10F5B6562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41917" y="693803"/>
            <a:ext cx="976126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761D47B5-1DCF-DEA5-AD5A-A87DBB4A210B}"/>
              </a:ext>
            </a:extLst>
          </p:cNvPr>
          <p:cNvSpPr/>
          <p:nvPr userDrawn="1"/>
        </p:nvSpPr>
        <p:spPr>
          <a:xfrm>
            <a:off x="7114824" y="6857740"/>
            <a:ext cx="1456841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42C733FE-249E-F4B6-97A5-9BDCDC7F587F}"/>
              </a:ext>
            </a:extLst>
          </p:cNvPr>
          <p:cNvSpPr/>
          <p:nvPr userDrawn="1"/>
        </p:nvSpPr>
        <p:spPr>
          <a:xfrm>
            <a:off x="6630051" y="-4064"/>
            <a:ext cx="1305375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92D11F13-254D-EE69-56CC-3A9083BCD90B}"/>
              </a:ext>
            </a:extLst>
          </p:cNvPr>
          <p:cNvSpPr/>
          <p:nvPr userDrawn="1"/>
        </p:nvSpPr>
        <p:spPr>
          <a:xfrm>
            <a:off x="7118045" y="693807"/>
            <a:ext cx="488133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23DDCEF-71FC-3732-8A04-4455123CB7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653923" y="693803"/>
            <a:ext cx="1464261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5BB121C-7A8C-12E6-80A7-C9F5E00829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45191" y="5666674"/>
            <a:ext cx="1691599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331" dirty="0">
                <a:noFill/>
              </a:defRPr>
            </a:lvl1pPr>
            <a:lvl2pPr>
              <a:defRPr lang="en-US" sz="331" dirty="0">
                <a:noFill/>
              </a:defRPr>
            </a:lvl2pPr>
            <a:lvl3pPr>
              <a:defRPr lang="en-US" sz="331" dirty="0">
                <a:noFill/>
              </a:defRPr>
            </a:lvl3pPr>
            <a:lvl4pPr>
              <a:defRPr lang="en-US" sz="331" dirty="0">
                <a:noFill/>
              </a:defRPr>
            </a:lvl4pPr>
            <a:lvl5pPr>
              <a:defRPr lang="en-US" sz="331" dirty="0">
                <a:noFill/>
              </a:defRPr>
            </a:lvl5pPr>
            <a:lvl6pPr>
              <a:defRPr lang="en-US" sz="331" dirty="0">
                <a:noFill/>
              </a:defRPr>
            </a:lvl6pPr>
            <a:lvl7pPr>
              <a:defRPr lang="en-US" sz="331" dirty="0">
                <a:noFill/>
              </a:defRPr>
            </a:lvl7pPr>
            <a:lvl8pPr>
              <a:defRPr lang="en-US" sz="331" dirty="0">
                <a:noFill/>
              </a:defRPr>
            </a:lvl8pPr>
            <a:lvl9pPr>
              <a:defRPr lang="en-AU" sz="33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DD6E17-2BA5-2E07-079F-711BDFC647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11719" y="5666674"/>
            <a:ext cx="1684880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449" y="7004055"/>
            <a:ext cx="493968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D48F861-7E55-A416-6C10-E8F443B18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71" y="2675710"/>
            <a:ext cx="4166532" cy="1587333"/>
          </a:xfrm>
        </p:spPr>
        <p:txBody>
          <a:bodyPr/>
          <a:lstStyle>
            <a:lvl1pPr marL="0" indent="0" algn="l">
              <a:buNone/>
              <a:defRPr sz="1901" b="0">
                <a:solidFill>
                  <a:schemeClr val="bg1"/>
                </a:solidFill>
              </a:defRPr>
            </a:lvl1pPr>
            <a:lvl2pPr marL="0" indent="0" algn="l">
              <a:buNone/>
              <a:defRPr sz="1901" b="0">
                <a:solidFill>
                  <a:schemeClr val="accent3"/>
                </a:solidFill>
              </a:defRPr>
            </a:lvl2pPr>
            <a:lvl3pPr marL="0" indent="0" algn="l">
              <a:buNone/>
              <a:defRPr sz="1901" b="0">
                <a:solidFill>
                  <a:schemeClr val="bg1"/>
                </a:solidFill>
              </a:defRPr>
            </a:lvl3pPr>
            <a:lvl4pPr marL="0" indent="0" algn="l">
              <a:buNone/>
              <a:defRPr sz="1901" b="0">
                <a:solidFill>
                  <a:schemeClr val="bg1"/>
                </a:solidFill>
              </a:defRPr>
            </a:lvl4pPr>
            <a:lvl5pPr marL="0" indent="0" algn="l">
              <a:buNone/>
              <a:defRPr sz="1901" b="0">
                <a:solidFill>
                  <a:schemeClr val="bg1"/>
                </a:solidFill>
              </a:defRPr>
            </a:lvl5pPr>
            <a:lvl6pPr marL="0" indent="0" algn="l">
              <a:buNone/>
              <a:defRPr sz="1901" b="0">
                <a:solidFill>
                  <a:schemeClr val="bg1"/>
                </a:solidFill>
              </a:defRPr>
            </a:lvl6pPr>
            <a:lvl7pPr marL="0" indent="0" algn="l">
              <a:buNone/>
              <a:defRPr sz="1901" b="0">
                <a:solidFill>
                  <a:schemeClr val="bg1"/>
                </a:solidFill>
              </a:defRPr>
            </a:lvl7pPr>
            <a:lvl8pPr marL="0" indent="0" algn="l">
              <a:buNone/>
              <a:defRPr sz="1901" b="0">
                <a:solidFill>
                  <a:schemeClr val="bg1"/>
                </a:solidFill>
              </a:defRPr>
            </a:lvl8pPr>
            <a:lvl9pPr marL="0" indent="0" algn="l">
              <a:buNone/>
              <a:defRPr sz="1901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3" name="Title 10">
            <a:extLst>
              <a:ext uri="{FF2B5EF4-FFF2-40B4-BE49-F238E27FC236}">
                <a16:creationId xmlns:a16="http://schemas.microsoft.com/office/drawing/2014/main" id="{11278E5F-8266-8988-9BC9-75792091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448" y="1391815"/>
            <a:ext cx="4166532" cy="1190500"/>
          </a:xfrm>
        </p:spPr>
        <p:txBody>
          <a:bodyPr anchor="b" anchorCtr="0"/>
          <a:lstStyle>
            <a:lvl1pPr>
              <a:defRPr sz="25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53C4647-9866-8687-AC61-706DD630E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CA80ADE-153B-89EB-C45C-110A3EAD8DEA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575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0C810F8-DFAB-09FF-9C62-9FCB8ECA197D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" y="693807"/>
            <a:ext cx="10075822" cy="61640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840000" tIns="288000" rIns="360000" bIns="360000" anchor="t" anchorCtr="0">
            <a:noAutofit/>
          </a:bodyPr>
          <a:lstStyle>
            <a:lvl1pPr algn="r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449" y="7004055"/>
            <a:ext cx="493968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230822B-F962-DB00-EE97-E4256C54DA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30191" y="693804"/>
            <a:ext cx="976126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2D5331-408D-EF45-7B7C-C5B7E1DA75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41917" y="693803"/>
            <a:ext cx="976126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A3A3D436-8180-38F3-59D6-0BA3DD774A4D}"/>
              </a:ext>
            </a:extLst>
          </p:cNvPr>
          <p:cNvSpPr/>
          <p:nvPr userDrawn="1"/>
        </p:nvSpPr>
        <p:spPr>
          <a:xfrm>
            <a:off x="7114824" y="6857740"/>
            <a:ext cx="1456841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1BC3F22-BF2C-9936-4961-258371143F9B}"/>
              </a:ext>
            </a:extLst>
          </p:cNvPr>
          <p:cNvSpPr/>
          <p:nvPr userDrawn="1"/>
        </p:nvSpPr>
        <p:spPr>
          <a:xfrm>
            <a:off x="6630051" y="-4064"/>
            <a:ext cx="1305375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2315349F-5DCB-7C77-ADF4-93BBD78D466D}"/>
              </a:ext>
            </a:extLst>
          </p:cNvPr>
          <p:cNvSpPr/>
          <p:nvPr userDrawn="1"/>
        </p:nvSpPr>
        <p:spPr>
          <a:xfrm>
            <a:off x="7118045" y="693807"/>
            <a:ext cx="488133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407844C-B43F-E7F1-25BB-730A42F8C798}"/>
              </a:ext>
            </a:extLst>
          </p:cNvPr>
          <p:cNvSpPr/>
          <p:nvPr userDrawn="1"/>
        </p:nvSpPr>
        <p:spPr>
          <a:xfrm>
            <a:off x="350951" y="-4064"/>
            <a:ext cx="9728091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44498DC-53F4-4976-1118-A8506276F4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53923" y="693803"/>
            <a:ext cx="1464261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78D3637-7058-A75F-A9AF-CA3F50EE0F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45191" y="5666674"/>
            <a:ext cx="1691599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331" dirty="0">
                <a:noFill/>
              </a:defRPr>
            </a:lvl1pPr>
            <a:lvl2pPr>
              <a:defRPr lang="en-US" sz="331" dirty="0">
                <a:noFill/>
              </a:defRPr>
            </a:lvl2pPr>
            <a:lvl3pPr>
              <a:defRPr lang="en-US" sz="331" dirty="0">
                <a:noFill/>
              </a:defRPr>
            </a:lvl3pPr>
            <a:lvl4pPr>
              <a:defRPr lang="en-US" sz="331" dirty="0">
                <a:noFill/>
              </a:defRPr>
            </a:lvl4pPr>
            <a:lvl5pPr>
              <a:defRPr lang="en-US" sz="331" dirty="0">
                <a:noFill/>
              </a:defRPr>
            </a:lvl5pPr>
            <a:lvl6pPr>
              <a:defRPr lang="en-US" sz="331" dirty="0">
                <a:noFill/>
              </a:defRPr>
            </a:lvl6pPr>
            <a:lvl7pPr>
              <a:defRPr lang="en-US" sz="331" dirty="0">
                <a:noFill/>
              </a:defRPr>
            </a:lvl7pPr>
            <a:lvl8pPr>
              <a:defRPr lang="en-US" sz="331" dirty="0">
                <a:noFill/>
              </a:defRPr>
            </a:lvl8pPr>
            <a:lvl9pPr>
              <a:defRPr lang="en-AU" sz="33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837DE7F-B0A0-98EB-E050-22BBFBCCB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11719" y="5666674"/>
            <a:ext cx="1684880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4349991-AE8C-CA92-BF55-D82BA54DBC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693806"/>
            <a:ext cx="6630050" cy="6163375"/>
          </a:xfrm>
          <a:custGeom>
            <a:avLst/>
            <a:gdLst>
              <a:gd name="connsiteX0" fmla="*/ 0 w 6014977"/>
              <a:gd name="connsiteY0" fmla="*/ 0 h 5591302"/>
              <a:gd name="connsiteX1" fmla="*/ 6014977 w 6014977"/>
              <a:gd name="connsiteY1" fmla="*/ 0 h 5591302"/>
              <a:gd name="connsiteX2" fmla="*/ 3371137 w 6014977"/>
              <a:gd name="connsiteY2" fmla="*/ 5591302 h 5591302"/>
              <a:gd name="connsiteX3" fmla="*/ 0 w 6014977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977" h="5591302">
                <a:moveTo>
                  <a:pt x="0" y="0"/>
                </a:moveTo>
                <a:lnTo>
                  <a:pt x="6014977" y="0"/>
                </a:lnTo>
                <a:lnTo>
                  <a:pt x="3371137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A6F139C8-B6EF-5B84-13D9-F8ADEBD2F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448" y="1391815"/>
            <a:ext cx="4166532" cy="1190500"/>
          </a:xfrm>
        </p:spPr>
        <p:txBody>
          <a:bodyPr anchor="b" anchorCtr="0"/>
          <a:lstStyle>
            <a:lvl1pPr>
              <a:defRPr sz="25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3082BF0-ED0B-5BEB-3CD5-ED3CAB19DA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71" y="2675710"/>
            <a:ext cx="4166532" cy="1587333"/>
          </a:xfrm>
        </p:spPr>
        <p:txBody>
          <a:bodyPr/>
          <a:lstStyle>
            <a:lvl1pPr marL="0" indent="0" algn="l">
              <a:buNone/>
              <a:defRPr sz="1901" b="0">
                <a:solidFill>
                  <a:schemeClr val="bg1"/>
                </a:solidFill>
              </a:defRPr>
            </a:lvl1pPr>
            <a:lvl2pPr marL="0" indent="0" algn="l">
              <a:buNone/>
              <a:defRPr sz="1901" b="0">
                <a:solidFill>
                  <a:schemeClr val="accent3"/>
                </a:solidFill>
              </a:defRPr>
            </a:lvl2pPr>
            <a:lvl3pPr marL="0" indent="0" algn="l">
              <a:buNone/>
              <a:defRPr sz="1901" b="0">
                <a:solidFill>
                  <a:schemeClr val="bg1"/>
                </a:solidFill>
              </a:defRPr>
            </a:lvl3pPr>
            <a:lvl4pPr marL="0" indent="0" algn="l">
              <a:buNone/>
              <a:defRPr sz="1901" b="0">
                <a:solidFill>
                  <a:schemeClr val="bg1"/>
                </a:solidFill>
              </a:defRPr>
            </a:lvl4pPr>
            <a:lvl5pPr marL="0" indent="0" algn="l">
              <a:buNone/>
              <a:defRPr sz="1901" b="0">
                <a:solidFill>
                  <a:schemeClr val="bg1"/>
                </a:solidFill>
              </a:defRPr>
            </a:lvl5pPr>
            <a:lvl6pPr marL="0" indent="0" algn="l">
              <a:buNone/>
              <a:defRPr sz="1901" b="0">
                <a:solidFill>
                  <a:schemeClr val="bg1"/>
                </a:solidFill>
              </a:defRPr>
            </a:lvl6pPr>
            <a:lvl7pPr marL="0" indent="0" algn="l">
              <a:buNone/>
              <a:defRPr sz="1901" b="0">
                <a:solidFill>
                  <a:schemeClr val="bg1"/>
                </a:solidFill>
              </a:defRPr>
            </a:lvl7pPr>
            <a:lvl8pPr marL="0" indent="0" algn="l">
              <a:buNone/>
              <a:defRPr sz="1901" b="0">
                <a:solidFill>
                  <a:schemeClr val="bg1"/>
                </a:solidFill>
              </a:defRPr>
            </a:lvl8pPr>
            <a:lvl9pPr marL="0" indent="0" algn="l">
              <a:buNone/>
              <a:defRPr sz="1901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EE8CEF-2A9A-A284-2ECE-73C5016C2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814517-E33B-AFFF-52E3-DE0C61785E9A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33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7"/>
            <a:ext cx="10075962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715530" y="693807"/>
            <a:ext cx="6360292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488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449" y="7004055"/>
            <a:ext cx="493968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114824" y="6857740"/>
            <a:ext cx="1456841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6630051" y="-4064"/>
            <a:ext cx="1305375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118045" y="693807"/>
            <a:ext cx="488133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71" y="2675710"/>
            <a:ext cx="4166532" cy="1587333"/>
          </a:xfrm>
        </p:spPr>
        <p:txBody>
          <a:bodyPr/>
          <a:lstStyle>
            <a:lvl1pPr marL="0" indent="0" algn="l">
              <a:buNone/>
              <a:defRPr sz="1901" b="0">
                <a:solidFill>
                  <a:schemeClr val="bg1"/>
                </a:solidFill>
              </a:defRPr>
            </a:lvl1pPr>
            <a:lvl2pPr marL="0" indent="0" algn="l">
              <a:buNone/>
              <a:defRPr sz="1901" b="0">
                <a:solidFill>
                  <a:schemeClr val="accent3"/>
                </a:solidFill>
              </a:defRPr>
            </a:lvl2pPr>
            <a:lvl3pPr marL="0" indent="0" algn="l">
              <a:buNone/>
              <a:defRPr sz="1901" b="0">
                <a:solidFill>
                  <a:schemeClr val="bg1"/>
                </a:solidFill>
              </a:defRPr>
            </a:lvl3pPr>
            <a:lvl4pPr marL="0" indent="0" algn="l">
              <a:buNone/>
              <a:defRPr sz="1901" b="0">
                <a:solidFill>
                  <a:schemeClr val="bg1"/>
                </a:solidFill>
              </a:defRPr>
            </a:lvl4pPr>
            <a:lvl5pPr marL="0" indent="0" algn="l">
              <a:buNone/>
              <a:defRPr sz="1901" b="0">
                <a:solidFill>
                  <a:schemeClr val="bg1"/>
                </a:solidFill>
              </a:defRPr>
            </a:lvl5pPr>
            <a:lvl6pPr marL="0" indent="0" algn="l">
              <a:buNone/>
              <a:defRPr sz="1901" b="0">
                <a:solidFill>
                  <a:schemeClr val="bg1"/>
                </a:solidFill>
              </a:defRPr>
            </a:lvl6pPr>
            <a:lvl7pPr marL="0" indent="0" algn="l">
              <a:buNone/>
              <a:defRPr sz="1901" b="0">
                <a:solidFill>
                  <a:schemeClr val="bg1"/>
                </a:solidFill>
              </a:defRPr>
            </a:lvl7pPr>
            <a:lvl8pPr marL="0" indent="0" algn="l">
              <a:buNone/>
              <a:defRPr sz="1901" b="0">
                <a:solidFill>
                  <a:schemeClr val="bg1"/>
                </a:solidFill>
              </a:defRPr>
            </a:lvl8pPr>
            <a:lvl9pPr marL="0" indent="0" algn="l">
              <a:buNone/>
              <a:defRPr sz="1901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448" y="1391815"/>
            <a:ext cx="4166532" cy="1190500"/>
          </a:xfrm>
        </p:spPr>
        <p:txBody>
          <a:bodyPr anchor="b" anchorCtr="0"/>
          <a:lstStyle>
            <a:lvl1pPr>
              <a:defRPr sz="25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141918" y="693805"/>
            <a:ext cx="1464400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653922" y="693803"/>
            <a:ext cx="1464261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445191" y="5666674"/>
            <a:ext cx="1691599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011719" y="5666674"/>
            <a:ext cx="1684880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D344425-4162-E229-2E19-2924591FF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7E5F0D0-1852-1373-EF05-D7B4A6041F22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855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7"/>
            <a:ext cx="10075962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715530" y="693807"/>
            <a:ext cx="6360292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488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449" y="7004055"/>
            <a:ext cx="493968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114824" y="6857740"/>
            <a:ext cx="1456841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6630051" y="-4064"/>
            <a:ext cx="1305375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118045" y="693807"/>
            <a:ext cx="488133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371" y="2675710"/>
            <a:ext cx="4166532" cy="1587333"/>
          </a:xfrm>
        </p:spPr>
        <p:txBody>
          <a:bodyPr/>
          <a:lstStyle>
            <a:lvl1pPr marL="0" indent="0" algn="l">
              <a:buNone/>
              <a:defRPr sz="1901" b="0">
                <a:solidFill>
                  <a:schemeClr val="bg1"/>
                </a:solidFill>
              </a:defRPr>
            </a:lvl1pPr>
            <a:lvl2pPr marL="0" indent="0" algn="l">
              <a:buNone/>
              <a:defRPr sz="1901" b="0">
                <a:solidFill>
                  <a:schemeClr val="accent3"/>
                </a:solidFill>
              </a:defRPr>
            </a:lvl2pPr>
            <a:lvl3pPr marL="0" indent="0" algn="l">
              <a:buNone/>
              <a:defRPr sz="1901" b="0">
                <a:solidFill>
                  <a:schemeClr val="bg1"/>
                </a:solidFill>
              </a:defRPr>
            </a:lvl3pPr>
            <a:lvl4pPr marL="0" indent="0" algn="l">
              <a:buNone/>
              <a:defRPr sz="1901" b="0">
                <a:solidFill>
                  <a:schemeClr val="bg1"/>
                </a:solidFill>
              </a:defRPr>
            </a:lvl4pPr>
            <a:lvl5pPr marL="0" indent="0" algn="l">
              <a:buNone/>
              <a:defRPr sz="1901" b="0">
                <a:solidFill>
                  <a:schemeClr val="bg1"/>
                </a:solidFill>
              </a:defRPr>
            </a:lvl5pPr>
            <a:lvl6pPr marL="0" indent="0" algn="l">
              <a:buNone/>
              <a:defRPr sz="1901" b="0">
                <a:solidFill>
                  <a:schemeClr val="bg1"/>
                </a:solidFill>
              </a:defRPr>
            </a:lvl6pPr>
            <a:lvl7pPr marL="0" indent="0" algn="l">
              <a:buNone/>
              <a:defRPr sz="1901" b="0">
                <a:solidFill>
                  <a:schemeClr val="bg1"/>
                </a:solidFill>
              </a:defRPr>
            </a:lvl7pPr>
            <a:lvl8pPr marL="0" indent="0" algn="l">
              <a:buNone/>
              <a:defRPr sz="1901" b="0">
                <a:solidFill>
                  <a:schemeClr val="bg1"/>
                </a:solidFill>
              </a:defRPr>
            </a:lvl8pPr>
            <a:lvl9pPr marL="0" indent="0" algn="l">
              <a:buNone/>
              <a:defRPr sz="1901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5448" y="1391815"/>
            <a:ext cx="4166532" cy="1190500"/>
          </a:xfrm>
        </p:spPr>
        <p:txBody>
          <a:bodyPr anchor="b" anchorCtr="0"/>
          <a:lstStyle>
            <a:lvl1pPr>
              <a:defRPr sz="256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141918" y="693805"/>
            <a:ext cx="1464400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653922" y="693803"/>
            <a:ext cx="1464261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445191" y="5666674"/>
            <a:ext cx="1691599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011719" y="5666674"/>
            <a:ext cx="1684880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33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B3127AF-A3C2-5832-887E-D39B11574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FDF05C-52EC-6D95-72CD-C8B91309F21D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0796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EF600E-A836-4665-A50B-E5BE4AD54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2443BB-7A97-7B56-A32E-631D8CD62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01/08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26E1DD-AD4E-67B7-C4F6-D1DB9008D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844A66-C3CA-7B88-CD33-C6D0CC2B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050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9A80C0-65A9-BC7C-D22E-85EE44CC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01/08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D7BD5-0C96-0A6E-631D-DD3B95D28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379D0F-B6EB-9705-927B-79B513BAC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151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5449" y="614695"/>
            <a:ext cx="5059359" cy="1587333"/>
          </a:xfrm>
        </p:spPr>
        <p:txBody>
          <a:bodyPr/>
          <a:lstStyle>
            <a:lvl1pPr marL="0" indent="0" algn="l">
              <a:buNone/>
              <a:defRPr sz="2562" b="0">
                <a:solidFill>
                  <a:schemeClr val="accent6"/>
                </a:solidFill>
              </a:defRPr>
            </a:lvl1pPr>
            <a:lvl2pPr marL="0" indent="0" algn="l">
              <a:buNone/>
              <a:defRPr sz="1901" b="0">
                <a:solidFill>
                  <a:schemeClr val="accent6"/>
                </a:solidFill>
              </a:defRPr>
            </a:lvl2pPr>
            <a:lvl3pPr marL="0" indent="0" algn="l">
              <a:buNone/>
              <a:defRPr sz="1901" b="0">
                <a:solidFill>
                  <a:schemeClr val="accent6"/>
                </a:solidFill>
              </a:defRPr>
            </a:lvl3pPr>
            <a:lvl4pPr marL="0" indent="0" algn="l">
              <a:buNone/>
              <a:defRPr sz="1901" b="0">
                <a:solidFill>
                  <a:schemeClr val="accent6"/>
                </a:solidFill>
              </a:defRPr>
            </a:lvl4pPr>
            <a:lvl5pPr marL="0" indent="0" algn="l">
              <a:buNone/>
              <a:defRPr sz="1901" b="0">
                <a:solidFill>
                  <a:schemeClr val="accent6"/>
                </a:solidFill>
              </a:defRPr>
            </a:lvl5pPr>
            <a:lvl6pPr marL="0" indent="0" algn="l">
              <a:buNone/>
              <a:defRPr sz="1901" b="0">
                <a:solidFill>
                  <a:schemeClr val="accent6"/>
                </a:solidFill>
              </a:defRPr>
            </a:lvl6pPr>
            <a:lvl7pPr marL="0" indent="0" algn="l">
              <a:buNone/>
              <a:defRPr sz="1901" b="0">
                <a:solidFill>
                  <a:schemeClr val="accent6"/>
                </a:solidFill>
              </a:defRPr>
            </a:lvl7pPr>
            <a:lvl8pPr marL="0" indent="0" algn="l">
              <a:buNone/>
              <a:defRPr sz="1901" b="0">
                <a:solidFill>
                  <a:schemeClr val="accent6"/>
                </a:solidFill>
              </a:defRPr>
            </a:lvl8pPr>
            <a:lvl9pPr marL="0" indent="0" algn="l">
              <a:buNone/>
              <a:defRPr sz="1901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1B08C00-0226-56F5-FDD7-5FA0EF3DB3D2}"/>
              </a:ext>
            </a:extLst>
          </p:cNvPr>
          <p:cNvSpPr/>
          <p:nvPr/>
        </p:nvSpPr>
        <p:spPr>
          <a:xfrm>
            <a:off x="1" y="2462353"/>
            <a:ext cx="10086186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53565A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1F1CE9E1-B56A-8EC2-7642-3210B9EB7C8C}"/>
              </a:ext>
            </a:extLst>
          </p:cNvPr>
          <p:cNvSpPr/>
          <p:nvPr/>
        </p:nvSpPr>
        <p:spPr>
          <a:xfrm>
            <a:off x="5107560" y="2"/>
            <a:ext cx="286510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CC001F1-4860-1CC5-8CBC-225BC0A9D236}"/>
              </a:ext>
            </a:extLst>
          </p:cNvPr>
          <p:cNvSpPr/>
          <p:nvPr/>
        </p:nvSpPr>
        <p:spPr>
          <a:xfrm>
            <a:off x="5672407" y="2462355"/>
            <a:ext cx="1132910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5B08A13-0E33-5FD8-469F-81F11D14C908}"/>
              </a:ext>
            </a:extLst>
          </p:cNvPr>
          <p:cNvSpPr/>
          <p:nvPr/>
        </p:nvSpPr>
        <p:spPr>
          <a:xfrm>
            <a:off x="4544394" y="2462355"/>
            <a:ext cx="1691178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9193096-0970-2A9D-D1E9-19E1B557CC8D}"/>
              </a:ext>
            </a:extLst>
          </p:cNvPr>
          <p:cNvSpPr/>
          <p:nvPr/>
        </p:nvSpPr>
        <p:spPr>
          <a:xfrm>
            <a:off x="6112243" y="5338110"/>
            <a:ext cx="2366194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F401E06B-775A-30BB-3913-21352C520CFE}"/>
              </a:ext>
            </a:extLst>
          </p:cNvPr>
          <p:cNvSpPr/>
          <p:nvPr/>
        </p:nvSpPr>
        <p:spPr>
          <a:xfrm>
            <a:off x="6316906" y="5338112"/>
            <a:ext cx="1438923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4A622ED0-B24F-3B6E-F173-57D708F0907F}"/>
              </a:ext>
            </a:extLst>
          </p:cNvPr>
          <p:cNvSpPr/>
          <p:nvPr/>
        </p:nvSpPr>
        <p:spPr>
          <a:xfrm>
            <a:off x="7039937" y="5338112"/>
            <a:ext cx="2154394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1697">
              <a:solidFill>
                <a:schemeClr val="accent6"/>
              </a:solidFill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08AA25C4-22B1-CB03-84BA-7BD988A74B2E}"/>
              </a:ext>
            </a:extLst>
          </p:cNvPr>
          <p:cNvSpPr/>
          <p:nvPr/>
        </p:nvSpPr>
        <p:spPr>
          <a:xfrm>
            <a:off x="5986256" y="6861384"/>
            <a:ext cx="1769571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>
              <a:solidFill>
                <a:schemeClr val="accent6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1028729-A80B-CFBD-7F6F-30AE340985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30986" y="997349"/>
            <a:ext cx="1849089" cy="567943"/>
          </a:xfrm>
          <a:prstGeom prst="rect">
            <a:avLst/>
          </a:prstGeom>
        </p:spPr>
      </p:pic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033E79D6-E595-ECEE-10ED-A5E97240E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EB24A637-B2FA-CB5F-8581-6598E9C59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F89C6-5D9B-55DA-9539-83F396DFFBA1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410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13DD76C-B0DF-5844-46E8-ACA7008494DC}"/>
              </a:ext>
            </a:extLst>
          </p:cNvPr>
          <p:cNvSpPr/>
          <p:nvPr userDrawn="1"/>
        </p:nvSpPr>
        <p:spPr>
          <a:xfrm>
            <a:off x="5107560" y="2"/>
            <a:ext cx="286510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2DCABD5A-B67F-F174-BA18-01F969DC1B68}"/>
              </a:ext>
            </a:extLst>
          </p:cNvPr>
          <p:cNvSpPr/>
          <p:nvPr/>
        </p:nvSpPr>
        <p:spPr>
          <a:xfrm>
            <a:off x="4538344" y="2462355"/>
            <a:ext cx="5540694" cy="4400883"/>
          </a:xfrm>
          <a:custGeom>
            <a:avLst/>
            <a:gdLst>
              <a:gd name="connsiteX0" fmla="*/ 0 w 5026680"/>
              <a:gd name="connsiteY0" fmla="*/ 0 h 3992401"/>
              <a:gd name="connsiteX1" fmla="*/ 5026680 w 5026680"/>
              <a:gd name="connsiteY1" fmla="*/ 0 h 3992401"/>
              <a:gd name="connsiteX2" fmla="*/ 5026680 w 5026680"/>
              <a:gd name="connsiteY2" fmla="*/ 3992401 h 3992401"/>
              <a:gd name="connsiteX3" fmla="*/ 2920561 w 5026680"/>
              <a:gd name="connsiteY3" fmla="*/ 3992401 h 3992401"/>
              <a:gd name="connsiteX4" fmla="*/ 1025695 w 5026680"/>
              <a:gd name="connsiteY4" fmla="*/ 10950 h 3992401"/>
              <a:gd name="connsiteX5" fmla="*/ 4897 w 5026680"/>
              <a:gd name="connsiteY5" fmla="*/ 10820 h 3992401"/>
              <a:gd name="connsiteX6" fmla="*/ 0 w 5026680"/>
              <a:gd name="connsiteY6" fmla="*/ 0 h 399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6680" h="3992401">
                <a:moveTo>
                  <a:pt x="0" y="0"/>
                </a:moveTo>
                <a:lnTo>
                  <a:pt x="5026680" y="0"/>
                </a:lnTo>
                <a:lnTo>
                  <a:pt x="5026680" y="3992401"/>
                </a:lnTo>
                <a:lnTo>
                  <a:pt x="2920561" y="3992401"/>
                </a:lnTo>
                <a:lnTo>
                  <a:pt x="1025695" y="10950"/>
                </a:lnTo>
                <a:lnTo>
                  <a:pt x="4897" y="108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4757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5B925039-3386-9DB3-1F58-4C26FF27836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" y="2462355"/>
            <a:ext cx="7762825" cy="4400617"/>
          </a:xfrm>
          <a:custGeom>
            <a:avLst/>
            <a:gdLst>
              <a:gd name="connsiteX0" fmla="*/ 0 w 7042663"/>
              <a:gd name="connsiteY0" fmla="*/ 0 h 3992160"/>
              <a:gd name="connsiteX1" fmla="*/ 5143014 w 7042663"/>
              <a:gd name="connsiteY1" fmla="*/ 658 h 3992160"/>
              <a:gd name="connsiteX2" fmla="*/ 7042663 w 7042663"/>
              <a:gd name="connsiteY2" fmla="*/ 3992160 h 3992160"/>
              <a:gd name="connsiteX3" fmla="*/ 0 w 7042663"/>
              <a:gd name="connsiteY3" fmla="*/ 3992160 h 399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2663" h="3992160">
                <a:moveTo>
                  <a:pt x="0" y="0"/>
                </a:moveTo>
                <a:lnTo>
                  <a:pt x="5143014" y="658"/>
                </a:lnTo>
                <a:lnTo>
                  <a:pt x="7042663" y="3992160"/>
                </a:lnTo>
                <a:lnTo>
                  <a:pt x="0" y="399216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04000" tIns="288000" rIns="3600000" bIns="360000" anchor="t" anchorCtr="0">
            <a:noAutofit/>
          </a:bodyPr>
          <a:lstStyle>
            <a:lvl1pPr algn="l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5449" y="614695"/>
            <a:ext cx="5059359" cy="1587333"/>
          </a:xfrm>
        </p:spPr>
        <p:txBody>
          <a:bodyPr/>
          <a:lstStyle>
            <a:lvl1pPr marL="0" indent="0" algn="l">
              <a:buNone/>
              <a:defRPr sz="2562" b="0">
                <a:solidFill>
                  <a:schemeClr val="accent6"/>
                </a:solidFill>
              </a:defRPr>
            </a:lvl1pPr>
            <a:lvl2pPr marL="0" indent="0" algn="l">
              <a:buNone/>
              <a:defRPr sz="1901" b="0">
                <a:solidFill>
                  <a:schemeClr val="accent6"/>
                </a:solidFill>
              </a:defRPr>
            </a:lvl2pPr>
            <a:lvl3pPr marL="0" indent="0" algn="l">
              <a:buNone/>
              <a:defRPr sz="1901" b="0">
                <a:solidFill>
                  <a:schemeClr val="accent6"/>
                </a:solidFill>
              </a:defRPr>
            </a:lvl3pPr>
            <a:lvl4pPr marL="0" indent="0" algn="l">
              <a:buNone/>
              <a:defRPr sz="1901" b="0">
                <a:solidFill>
                  <a:schemeClr val="accent6"/>
                </a:solidFill>
              </a:defRPr>
            </a:lvl4pPr>
            <a:lvl5pPr marL="0" indent="0" algn="l">
              <a:buNone/>
              <a:defRPr sz="1901" b="0">
                <a:solidFill>
                  <a:schemeClr val="accent6"/>
                </a:solidFill>
              </a:defRPr>
            </a:lvl5pPr>
            <a:lvl6pPr marL="0" indent="0" algn="l">
              <a:buNone/>
              <a:defRPr sz="1901" b="0">
                <a:solidFill>
                  <a:schemeClr val="accent6"/>
                </a:solidFill>
              </a:defRPr>
            </a:lvl6pPr>
            <a:lvl7pPr marL="0" indent="0" algn="l">
              <a:buNone/>
              <a:defRPr sz="1901" b="0">
                <a:solidFill>
                  <a:schemeClr val="accent6"/>
                </a:solidFill>
              </a:defRPr>
            </a:lvl7pPr>
            <a:lvl8pPr marL="0" indent="0" algn="l">
              <a:buNone/>
              <a:defRPr sz="1901" b="0">
                <a:solidFill>
                  <a:schemeClr val="accent6"/>
                </a:solidFill>
              </a:defRPr>
            </a:lvl8pPr>
            <a:lvl9pPr marL="0" indent="0" algn="l">
              <a:buNone/>
              <a:defRPr sz="1901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8BBBDA6-519A-05D0-4F6B-24B47AD172E0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CF85D78-FC0B-F4EA-1EF4-C857106FD948}"/>
              </a:ext>
            </a:extLst>
          </p:cNvPr>
          <p:cNvSpPr/>
          <p:nvPr userDrawn="1"/>
        </p:nvSpPr>
        <p:spPr>
          <a:xfrm>
            <a:off x="5986256" y="6861384"/>
            <a:ext cx="1769571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F67C86E-C469-E935-8F6B-B956C4B55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30986" y="997349"/>
            <a:ext cx="1849089" cy="567943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4EB4A5-D3CA-B552-1419-ADCF6DC9E32A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6316906" y="5338112"/>
            <a:ext cx="1438923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6351E1D-0587-2E7B-55B8-06B2E8737F98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039936" y="5338109"/>
            <a:ext cx="143905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2C71BA1-4727-3A94-C697-2772234AF9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44394" y="2462355"/>
            <a:ext cx="1691178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D8F58367-9BE9-C43F-398C-868E3E4B9FF4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107560" y="2462355"/>
            <a:ext cx="1134061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8FE88D8-DD84-A127-C179-33FF11FEAF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39935" y="5338112"/>
            <a:ext cx="2154394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3FD0863A-B744-BA87-F617-4BBA1966EEB8}"/>
              </a:ext>
            </a:extLst>
          </p:cNvPr>
          <p:cNvSpPr/>
          <p:nvPr userDrawn="1"/>
        </p:nvSpPr>
        <p:spPr>
          <a:xfrm>
            <a:off x="5671257" y="2462355"/>
            <a:ext cx="1134061" cy="1198437"/>
          </a:xfrm>
          <a:custGeom>
            <a:avLst/>
            <a:gdLst>
              <a:gd name="connsiteX0" fmla="*/ 0 w 1028853"/>
              <a:gd name="connsiteY0" fmla="*/ 0 h 1087200"/>
              <a:gd name="connsiteX1" fmla="*/ 1028853 w 1028853"/>
              <a:gd name="connsiteY1" fmla="*/ 0 h 1087200"/>
              <a:gd name="connsiteX2" fmla="*/ 511439 w 1028853"/>
              <a:gd name="connsiteY2" fmla="*/ 1087200 h 1087200"/>
              <a:gd name="connsiteX3" fmla="*/ 0 w 1028853"/>
              <a:gd name="connsiteY3" fmla="*/ 0 h 108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8853" h="1087200">
                <a:moveTo>
                  <a:pt x="0" y="0"/>
                </a:moveTo>
                <a:lnTo>
                  <a:pt x="1028853" y="0"/>
                </a:lnTo>
                <a:lnTo>
                  <a:pt x="511439" y="1087200"/>
                </a:lnTo>
                <a:cubicBezTo>
                  <a:pt x="511439" y="1087200"/>
                  <a:pt x="0" y="0"/>
                  <a:pt x="0" y="0"/>
                </a:cubicBezTo>
                <a:close/>
              </a:path>
            </a:pathLst>
          </a:custGeom>
          <a:solidFill>
            <a:srgbClr val="CEDC00">
              <a:alpha val="66000"/>
            </a:srgbClr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3B780439-4CEB-319E-36A6-2245E0E90D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2E50E5-2AB4-40F8-DB59-DD28CB45376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258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660CC324-D8B6-FA03-A350-EA9CC846ABF1}"/>
              </a:ext>
            </a:extLst>
          </p:cNvPr>
          <p:cNvSpPr/>
          <p:nvPr userDrawn="1"/>
        </p:nvSpPr>
        <p:spPr>
          <a:xfrm>
            <a:off x="5107560" y="2"/>
            <a:ext cx="286510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41F336-5118-C5C9-E8E5-6A5CCDE66F5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2461966"/>
            <a:ext cx="10087130" cy="440088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504000" tIns="288000" rIns="5760000" bIns="360000" anchor="t" anchorCtr="0">
            <a:noAutofit/>
          </a:bodyPr>
          <a:lstStyle>
            <a:lvl1pPr algn="l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5449" y="614695"/>
            <a:ext cx="5059359" cy="1587333"/>
          </a:xfrm>
        </p:spPr>
        <p:txBody>
          <a:bodyPr/>
          <a:lstStyle>
            <a:lvl1pPr marL="0" indent="0" algn="l">
              <a:buNone/>
              <a:defRPr sz="2562" b="0">
                <a:solidFill>
                  <a:schemeClr val="accent6"/>
                </a:solidFill>
              </a:defRPr>
            </a:lvl1pPr>
            <a:lvl2pPr marL="0" indent="0" algn="l">
              <a:buNone/>
              <a:defRPr sz="1901" b="0">
                <a:solidFill>
                  <a:schemeClr val="accent6"/>
                </a:solidFill>
              </a:defRPr>
            </a:lvl2pPr>
            <a:lvl3pPr marL="0" indent="0" algn="l">
              <a:buNone/>
              <a:defRPr sz="1901" b="0">
                <a:solidFill>
                  <a:schemeClr val="accent6"/>
                </a:solidFill>
              </a:defRPr>
            </a:lvl3pPr>
            <a:lvl4pPr marL="0" indent="0" algn="l">
              <a:buNone/>
              <a:defRPr sz="1901" b="0">
                <a:solidFill>
                  <a:schemeClr val="accent6"/>
                </a:solidFill>
              </a:defRPr>
            </a:lvl4pPr>
            <a:lvl5pPr marL="0" indent="0" algn="l">
              <a:buNone/>
              <a:defRPr sz="1901" b="0">
                <a:solidFill>
                  <a:schemeClr val="accent6"/>
                </a:solidFill>
              </a:defRPr>
            </a:lvl5pPr>
            <a:lvl6pPr marL="0" indent="0" algn="l">
              <a:buNone/>
              <a:defRPr sz="1901" b="0">
                <a:solidFill>
                  <a:schemeClr val="accent6"/>
                </a:solidFill>
              </a:defRPr>
            </a:lvl6pPr>
            <a:lvl7pPr marL="0" indent="0" algn="l">
              <a:buNone/>
              <a:defRPr sz="1901" b="0">
                <a:solidFill>
                  <a:schemeClr val="accent6"/>
                </a:solidFill>
              </a:defRPr>
            </a:lvl7pPr>
            <a:lvl8pPr marL="0" indent="0" algn="l">
              <a:buNone/>
              <a:defRPr sz="1901" b="0">
                <a:solidFill>
                  <a:schemeClr val="accent6"/>
                </a:solidFill>
              </a:defRPr>
            </a:lvl8pPr>
            <a:lvl9pPr marL="0" indent="0" algn="l">
              <a:buNone/>
              <a:defRPr sz="1901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E872F9-2264-1A70-83DD-6A9D9E266E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AE11B7-4DF9-5F56-C639-44F49C6B67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E7A27014-865C-F1D4-CAF7-08476B875D17}"/>
              </a:ext>
            </a:extLst>
          </p:cNvPr>
          <p:cNvSpPr/>
          <p:nvPr userDrawn="1"/>
        </p:nvSpPr>
        <p:spPr>
          <a:xfrm>
            <a:off x="5986256" y="6861384"/>
            <a:ext cx="1769571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697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7A3D40-02AD-DBB9-335F-21278C945676}"/>
              </a:ext>
            </a:extLst>
          </p:cNvPr>
          <p:cNvCxnSpPr/>
          <p:nvPr userDrawn="1"/>
        </p:nvCxnSpPr>
        <p:spPr>
          <a:xfrm>
            <a:off x="9070523" y="7125697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3D3D7C47-BE68-07DE-DF7D-956176BFA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30986" y="997349"/>
            <a:ext cx="1849089" cy="567943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FB86533-F1A5-7166-E415-5B35F9186D90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6316906" y="5338112"/>
            <a:ext cx="1438923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EBBF75-4777-D465-98BA-F612C441DE8E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039936" y="5338109"/>
            <a:ext cx="143905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797021D-985E-0973-26CF-15DF51748122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5671257" y="2461968"/>
            <a:ext cx="1134061" cy="1198437"/>
          </a:xfrm>
          <a:custGeom>
            <a:avLst/>
            <a:gdLst>
              <a:gd name="connsiteX0" fmla="*/ 0 w 1661668"/>
              <a:gd name="connsiteY0" fmla="*/ 0 h 1755902"/>
              <a:gd name="connsiteX1" fmla="*/ 1661668 w 1661668"/>
              <a:gd name="connsiteY1" fmla="*/ 0 h 1755902"/>
              <a:gd name="connsiteX2" fmla="*/ 826009 w 1661668"/>
              <a:gd name="connsiteY2" fmla="*/ 1755902 h 1755902"/>
              <a:gd name="connsiteX3" fmla="*/ 0 w 1661668"/>
              <a:gd name="connsiteY3" fmla="*/ 0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1668" h="1755902">
                <a:moveTo>
                  <a:pt x="0" y="0"/>
                </a:moveTo>
                <a:lnTo>
                  <a:pt x="1661668" y="0"/>
                </a:lnTo>
                <a:lnTo>
                  <a:pt x="826009" y="1755902"/>
                </a:lnTo>
                <a:cubicBezTo>
                  <a:pt x="826009" y="1755902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B2E7923-7ED8-1CD8-94BA-243F169D2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44394" y="2461968"/>
            <a:ext cx="1691178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022B79C5-62BF-CA09-6885-DE822CF41B7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107560" y="2461968"/>
            <a:ext cx="1134061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599D0EC-660D-FC34-6C21-DA20DC3AEA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39935" y="5338112"/>
            <a:ext cx="2154394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3654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60952-EFEB-073A-2890-058D4ABDF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96412"/>
              </p:ext>
            </p:extLst>
          </p:nvPr>
        </p:nvGraphicFramePr>
        <p:xfrm>
          <a:off x="1497" y="1588"/>
          <a:ext cx="149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F60952-EFEB-073A-2890-058D4ABDF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97" y="1588"/>
                        <a:ext cx="149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5447" y="2012415"/>
            <a:ext cx="7737845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, or click on one of the central icons to add a table, chart, SmartArt, image or media. Press the ‘Increase/Decrease’ button under the Home tab to move through the text styles.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854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5448" y="2012415"/>
            <a:ext cx="3571313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his slide can be used for two text boxes, or text and: chart, SmartArt, image or table.</a:t>
            </a:r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1979" y="2012415"/>
            <a:ext cx="3571313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7A1DEDE-6AEA-86E9-4E33-2C1EA515B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2334-F3BF-4941-B066-A9089F7890EF}" type="datetime1">
              <a:rPr lang="en-GB" smtClean="0"/>
              <a:t>01/08/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BBABFD-F4F5-2DE9-E006-D11D24911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07799FD-E5BC-A43F-4E9E-C3BC17F3C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806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5447" y="2607664"/>
            <a:ext cx="7737845" cy="37699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elect one of the central icons to add a table, chart, SmartArt, image or media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105EC4C-205A-AE42-AC77-45023A8CB0A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95440ED-8C89-4301-B204-2D326E26EA6F}" type="datetime1">
              <a:rPr lang="en-GB" smtClean="0"/>
              <a:t>01/08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B0CA08-E061-255E-37AD-C77C63384A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310BF31-A4C3-377B-AEC6-33F3A1A29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EE1AF-A60C-0DAE-29BA-0F1D2FBF76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5447" y="1805399"/>
            <a:ext cx="7737845" cy="5952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65406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FAE338-542F-062A-113E-84D5DEAC929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40490" y="1580924"/>
            <a:ext cx="4732536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2520000" tIns="288000" rIns="360000" bIns="360000" anchor="t" anchorCtr="0">
            <a:noAutofit/>
          </a:bodyPr>
          <a:lstStyle>
            <a:lvl1pPr algn="r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399DAD4-A874-4EAB-AB3C-820568E6E7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5447" y="2012415"/>
            <a:ext cx="6547406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447" y="423806"/>
            <a:ext cx="6547406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49C342-B9AA-BE4C-DBA6-A414FD6F66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60713" y="4302722"/>
            <a:ext cx="1212313" cy="2559928"/>
          </a:xfrm>
          <a:custGeom>
            <a:avLst/>
            <a:gdLst>
              <a:gd name="connsiteX0" fmla="*/ 1099846 w 1099846"/>
              <a:gd name="connsiteY0" fmla="*/ 0 h 2322320"/>
              <a:gd name="connsiteX1" fmla="*/ 1099846 w 1099846"/>
              <a:gd name="connsiteY1" fmla="*/ 2322320 h 2322320"/>
              <a:gd name="connsiteX2" fmla="*/ 0 w 1099846"/>
              <a:gd name="connsiteY2" fmla="*/ 2322320 h 232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9846" h="2322320">
                <a:moveTo>
                  <a:pt x="1099846" y="0"/>
                </a:moveTo>
                <a:lnTo>
                  <a:pt x="1099846" y="2322320"/>
                </a:lnTo>
                <a:lnTo>
                  <a:pt x="0" y="232232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F698BA25-4BD0-67D4-7C71-C0E01B8EC81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0A0E56-D0C5-4B3E-813B-A90A31A1DAA6}" type="datetime1">
              <a:rPr lang="en-GB" smtClean="0"/>
              <a:t>01/08/2023</a:t>
            </a:fld>
            <a:endParaRPr lang="en-GB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9C50C287-886F-8EE0-566B-F65B7FD7A5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ECB20DFD-4DFE-0F76-52E2-4F336B547E1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187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4F04595-8F0F-9159-49EE-2EF24C129E8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1580924"/>
            <a:ext cx="10079038" cy="527134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48000" tIns="288000" rIns="4320000" bIns="360000" anchor="t" anchorCtr="0">
            <a:noAutofit/>
          </a:bodyPr>
          <a:lstStyle>
            <a:lvl1pPr algn="l">
              <a:defRPr sz="1157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448" y="423806"/>
            <a:ext cx="4166532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9D1A89-6D04-E6B7-642A-FC4A5D65F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C048CFF-D5A4-4BED-AD1A-14E8D2CBA798}" type="datetime1">
              <a:rPr lang="en-GB" smtClean="0"/>
              <a:pPr/>
              <a:t>01/08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0ACF10-A8A1-158D-77C0-F1470495E0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DED0C4-FEDA-7F07-651E-81D65BEE7C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C391D5-CDF7-2EA7-BE15-53AD611FD5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40490" y="1580924"/>
            <a:ext cx="4732536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331">
                <a:noFill/>
              </a:defRPr>
            </a:lvl1pPr>
            <a:lvl2pPr marL="0" indent="0">
              <a:spcBef>
                <a:spcPts val="0"/>
              </a:spcBef>
              <a:buNone/>
              <a:defRPr sz="331">
                <a:noFill/>
              </a:defRPr>
            </a:lvl2pPr>
            <a:lvl3pPr marL="0" indent="0">
              <a:spcBef>
                <a:spcPts val="0"/>
              </a:spcBef>
              <a:buNone/>
              <a:defRPr sz="331">
                <a:noFill/>
              </a:defRPr>
            </a:lvl3pPr>
            <a:lvl4pPr>
              <a:spcBef>
                <a:spcPts val="0"/>
              </a:spcBef>
              <a:defRPr sz="331" b="0">
                <a:noFill/>
              </a:defRPr>
            </a:lvl4pPr>
            <a:lvl5pPr>
              <a:spcBef>
                <a:spcPts val="0"/>
              </a:spcBef>
              <a:defRPr sz="331">
                <a:noFill/>
              </a:defRPr>
            </a:lvl5pPr>
            <a:lvl6pPr>
              <a:spcBef>
                <a:spcPts val="0"/>
              </a:spcBef>
              <a:defRPr sz="331">
                <a:noFill/>
              </a:defRPr>
            </a:lvl6pPr>
            <a:lvl7pPr>
              <a:spcBef>
                <a:spcPts val="0"/>
              </a:spcBef>
              <a:defRPr sz="331">
                <a:noFill/>
              </a:defRPr>
            </a:lvl7pPr>
            <a:lvl8pPr>
              <a:spcBef>
                <a:spcPts val="0"/>
              </a:spcBef>
              <a:defRPr sz="331">
                <a:noFill/>
              </a:defRPr>
            </a:lvl8pPr>
            <a:lvl9pPr>
              <a:spcBef>
                <a:spcPts val="0"/>
              </a:spcBef>
              <a:defRPr sz="33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01104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AD34C0-2B69-0CD4-3E46-603BBC6C5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00056736"/>
              </p:ext>
            </p:extLst>
          </p:nvPr>
        </p:nvGraphicFramePr>
        <p:xfrm>
          <a:off x="1751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28" imgH="328" progId="TCLayout.ActiveDocument.1">
                  <p:embed/>
                </p:oleObj>
              </mc:Choice>
              <mc:Fallback>
                <p:oleObj name="think-cell Slide" r:id="rId19" imgW="328" imgH="3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AD34C0-2B69-0CD4-3E46-603BBC6C5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751" y="1751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DEE5F1F6-308B-BAE5-E04C-67ACD64873A7}"/>
              </a:ext>
            </a:extLst>
          </p:cNvPr>
          <p:cNvSpPr/>
          <p:nvPr userDrawn="1"/>
        </p:nvSpPr>
        <p:spPr>
          <a:xfrm>
            <a:off x="1" y="2"/>
            <a:ext cx="10079038" cy="1587333"/>
          </a:xfrm>
          <a:custGeom>
            <a:avLst/>
            <a:gdLst>
              <a:gd name="connsiteX0" fmla="*/ 0 w 12192000"/>
              <a:gd name="connsiteY0" fmla="*/ 0 h 1270000"/>
              <a:gd name="connsiteX1" fmla="*/ 12192000 w 12192000"/>
              <a:gd name="connsiteY1" fmla="*/ 0 h 1270000"/>
              <a:gd name="connsiteX2" fmla="*/ 12192000 w 12192000"/>
              <a:gd name="connsiteY2" fmla="*/ 1270000 h 1270000"/>
              <a:gd name="connsiteX3" fmla="*/ 0 w 12192000"/>
              <a:gd name="connsiteY3" fmla="*/ 1270000 h 1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270000">
                <a:moveTo>
                  <a:pt x="0" y="0"/>
                </a:moveTo>
                <a:lnTo>
                  <a:pt x="12192000" y="0"/>
                </a:lnTo>
                <a:lnTo>
                  <a:pt x="12192000" y="1270000"/>
                </a:lnTo>
                <a:lnTo>
                  <a:pt x="0" y="1270000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488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F69CC5-725A-DC9C-EE57-E4195036E597}"/>
              </a:ext>
            </a:extLst>
          </p:cNvPr>
          <p:cNvGrpSpPr/>
          <p:nvPr userDrawn="1"/>
        </p:nvGrpSpPr>
        <p:grpSpPr>
          <a:xfrm>
            <a:off x="7844506" y="2"/>
            <a:ext cx="2234534" cy="1587333"/>
            <a:chOff x="7792497" y="1"/>
            <a:chExt cx="1351502" cy="1269998"/>
          </a:xfrm>
        </p:grpSpPr>
        <p:sp>
          <p:nvSpPr>
            <p:cNvPr id="39" name="Free-form: Shape 38">
              <a:extLst>
                <a:ext uri="{FF2B5EF4-FFF2-40B4-BE49-F238E27FC236}">
                  <a16:creationId xmlns:a16="http://schemas.microsoft.com/office/drawing/2014/main" id="{ACD74EFB-1EB2-C902-2EB7-7A5AC47A3130}"/>
                </a:ext>
              </a:extLst>
            </p:cNvPr>
            <p:cNvSpPr/>
            <p:nvPr userDrawn="1"/>
          </p:nvSpPr>
          <p:spPr>
            <a:xfrm>
              <a:off x="7792497" y="600837"/>
              <a:ext cx="712232" cy="669162"/>
            </a:xfrm>
            <a:custGeom>
              <a:avLst/>
              <a:gdLst>
                <a:gd name="connsiteX0" fmla="*/ 316547 w 949642"/>
                <a:gd name="connsiteY0" fmla="*/ 0 h 669162"/>
                <a:gd name="connsiteX1" fmla="*/ 0 w 949642"/>
                <a:gd name="connsiteY1" fmla="*/ 669163 h 669162"/>
                <a:gd name="connsiteX2" fmla="*/ 633095 w 949642"/>
                <a:gd name="connsiteY2" fmla="*/ 669163 h 669162"/>
                <a:gd name="connsiteX3" fmla="*/ 949643 w 949642"/>
                <a:gd name="connsiteY3" fmla="*/ 0 h 669162"/>
                <a:gd name="connsiteX4" fmla="*/ 316547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316547" y="0"/>
                  </a:moveTo>
                  <a:lnTo>
                    <a:pt x="0" y="669163"/>
                  </a:lnTo>
                  <a:lnTo>
                    <a:pt x="633095" y="669163"/>
                  </a:lnTo>
                  <a:cubicBezTo>
                    <a:pt x="633095" y="669163"/>
                    <a:pt x="949643" y="0"/>
                    <a:pt x="949643" y="0"/>
                  </a:cubicBezTo>
                  <a:lnTo>
                    <a:pt x="316547" y="0"/>
                  </a:lnTo>
                  <a:close/>
                </a:path>
              </a:pathLst>
            </a:custGeom>
            <a:solidFill>
              <a:srgbClr val="00B1A8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488"/>
            </a:p>
          </p:txBody>
        </p:sp>
        <p:sp>
          <p:nvSpPr>
            <p:cNvPr id="40" name="Free-form: Shape 39">
              <a:extLst>
                <a:ext uri="{FF2B5EF4-FFF2-40B4-BE49-F238E27FC236}">
                  <a16:creationId xmlns:a16="http://schemas.microsoft.com/office/drawing/2014/main" id="{E7241B76-7122-AE56-0EFB-6DFFD069ADBB}"/>
                </a:ext>
              </a:extLst>
            </p:cNvPr>
            <p:cNvSpPr/>
            <p:nvPr userDrawn="1"/>
          </p:nvSpPr>
          <p:spPr>
            <a:xfrm>
              <a:off x="8504777" y="1"/>
              <a:ext cx="639222" cy="600837"/>
            </a:xfrm>
            <a:custGeom>
              <a:avLst/>
              <a:gdLst>
                <a:gd name="connsiteX0" fmla="*/ 568198 w 852296"/>
                <a:gd name="connsiteY0" fmla="*/ 600837 h 600837"/>
                <a:gd name="connsiteX1" fmla="*/ 852297 w 852296"/>
                <a:gd name="connsiteY1" fmla="*/ 0 h 600837"/>
                <a:gd name="connsiteX2" fmla="*/ 284099 w 852296"/>
                <a:gd name="connsiteY2" fmla="*/ 0 h 600837"/>
                <a:gd name="connsiteX3" fmla="*/ 0 w 852296"/>
                <a:gd name="connsiteY3" fmla="*/ 600837 h 600837"/>
                <a:gd name="connsiteX4" fmla="*/ 568198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568198" y="600837"/>
                  </a:moveTo>
                  <a:lnTo>
                    <a:pt x="852297" y="0"/>
                  </a:lnTo>
                  <a:lnTo>
                    <a:pt x="284099" y="0"/>
                  </a:lnTo>
                  <a:cubicBezTo>
                    <a:pt x="284099" y="0"/>
                    <a:pt x="0" y="600837"/>
                    <a:pt x="0" y="600837"/>
                  </a:cubicBezTo>
                  <a:lnTo>
                    <a:pt x="568198" y="600837"/>
                  </a:lnTo>
                  <a:close/>
                </a:path>
              </a:pathLst>
            </a:custGeom>
            <a:solidFill>
              <a:srgbClr val="CDDB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488"/>
            </a:p>
          </p:txBody>
        </p:sp>
        <p:sp>
          <p:nvSpPr>
            <p:cNvPr id="41" name="Free-form: Shape 40">
              <a:extLst>
                <a:ext uri="{FF2B5EF4-FFF2-40B4-BE49-F238E27FC236}">
                  <a16:creationId xmlns:a16="http://schemas.microsoft.com/office/drawing/2014/main" id="{1AB8811A-2AF9-3D1A-7290-BC7B6EA26CFE}"/>
                </a:ext>
              </a:extLst>
            </p:cNvPr>
            <p:cNvSpPr/>
            <p:nvPr userDrawn="1"/>
          </p:nvSpPr>
          <p:spPr>
            <a:xfrm>
              <a:off x="8291703" y="1"/>
              <a:ext cx="639222" cy="600837"/>
            </a:xfrm>
            <a:custGeom>
              <a:avLst/>
              <a:gdLst>
                <a:gd name="connsiteX0" fmla="*/ 852297 w 852296"/>
                <a:gd name="connsiteY0" fmla="*/ 600837 h 600837"/>
                <a:gd name="connsiteX1" fmla="*/ 568198 w 852296"/>
                <a:gd name="connsiteY1" fmla="*/ 0 h 600837"/>
                <a:gd name="connsiteX2" fmla="*/ 0 w 852296"/>
                <a:gd name="connsiteY2" fmla="*/ 0 h 600837"/>
                <a:gd name="connsiteX3" fmla="*/ 284099 w 852296"/>
                <a:gd name="connsiteY3" fmla="*/ 600837 h 600837"/>
                <a:gd name="connsiteX4" fmla="*/ 852297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852297" y="600837"/>
                  </a:moveTo>
                  <a:lnTo>
                    <a:pt x="568198" y="0"/>
                  </a:lnTo>
                  <a:lnTo>
                    <a:pt x="0" y="0"/>
                  </a:lnTo>
                  <a:cubicBezTo>
                    <a:pt x="0" y="0"/>
                    <a:pt x="284099" y="600837"/>
                    <a:pt x="284099" y="600837"/>
                  </a:cubicBezTo>
                  <a:lnTo>
                    <a:pt x="852297" y="600837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488"/>
            </a:p>
          </p:txBody>
        </p:sp>
        <p:sp>
          <p:nvSpPr>
            <p:cNvPr id="42" name="Free-form: Shape 41">
              <a:extLst>
                <a:ext uri="{FF2B5EF4-FFF2-40B4-BE49-F238E27FC236}">
                  <a16:creationId xmlns:a16="http://schemas.microsoft.com/office/drawing/2014/main" id="{F88C237B-3642-81D4-58BC-F75C75257471}"/>
                </a:ext>
              </a:extLst>
            </p:cNvPr>
            <p:cNvSpPr/>
            <p:nvPr userDrawn="1"/>
          </p:nvSpPr>
          <p:spPr>
            <a:xfrm>
              <a:off x="8029908" y="600837"/>
              <a:ext cx="712232" cy="669162"/>
            </a:xfrm>
            <a:custGeom>
              <a:avLst/>
              <a:gdLst>
                <a:gd name="connsiteX0" fmla="*/ 0 w 949642"/>
                <a:gd name="connsiteY0" fmla="*/ 0 h 669162"/>
                <a:gd name="connsiteX1" fmla="*/ 316548 w 949642"/>
                <a:gd name="connsiteY1" fmla="*/ 669163 h 669162"/>
                <a:gd name="connsiteX2" fmla="*/ 949643 w 949642"/>
                <a:gd name="connsiteY2" fmla="*/ 669163 h 669162"/>
                <a:gd name="connsiteX3" fmla="*/ 633095 w 949642"/>
                <a:gd name="connsiteY3" fmla="*/ 0 h 669162"/>
                <a:gd name="connsiteX4" fmla="*/ 0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0" y="0"/>
                  </a:moveTo>
                  <a:lnTo>
                    <a:pt x="316548" y="669163"/>
                  </a:lnTo>
                  <a:lnTo>
                    <a:pt x="949643" y="669163"/>
                  </a:lnTo>
                  <a:cubicBezTo>
                    <a:pt x="949643" y="669163"/>
                    <a:pt x="633095" y="0"/>
                    <a:pt x="6330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488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36878" y="7004055"/>
            <a:ext cx="2136415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26">
                <a:solidFill>
                  <a:schemeClr val="accent6"/>
                </a:solidFill>
              </a:defRPr>
            </a:lvl1pPr>
          </a:lstStyle>
          <a:p>
            <a:fld id="{973D4877-A18C-4E62-9946-F942ED83388C}" type="datetime1">
              <a:rPr lang="en-GB" smtClean="0"/>
              <a:pPr/>
              <a:t>01/08/2023</a:t>
            </a:fld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5449" y="423806"/>
            <a:ext cx="7142625" cy="7936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447" y="2012415"/>
            <a:ext cx="8888600" cy="4365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5447" y="7004055"/>
            <a:ext cx="493968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91410" y="7004055"/>
            <a:ext cx="595218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6"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MSIPCMContentMarking" descr="{&quot;HashCode&quot;:1862493762,&quot;Placement&quot;:&quot;Footer&quot;,&quot;Top&quot;:571.90155,&quot;Left&quot;:386.984,&quot;SlideWidth&quot;:841,&quot;SlideHeight&quot;:595}">
            <a:extLst>
              <a:ext uri="{FF2B5EF4-FFF2-40B4-BE49-F238E27FC236}">
                <a16:creationId xmlns:a16="http://schemas.microsoft.com/office/drawing/2014/main" id="{6E50017D-AD62-34A8-01FF-E1B692B215C4}"/>
              </a:ext>
            </a:extLst>
          </p:cNvPr>
          <p:cNvSpPr txBox="1"/>
          <p:nvPr userDrawn="1"/>
        </p:nvSpPr>
        <p:spPr>
          <a:xfrm>
            <a:off x="4633023" y="7342163"/>
            <a:ext cx="812992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AU" sz="9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255947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7" r:id="rId2"/>
    <p:sldLayoutId id="2147483678" r:id="rId3"/>
    <p:sldLayoutId id="2147483692" r:id="rId4"/>
    <p:sldLayoutId id="2147483650" r:id="rId5"/>
    <p:sldLayoutId id="2147483652" r:id="rId6"/>
    <p:sldLayoutId id="2147483691" r:id="rId7"/>
    <p:sldLayoutId id="2147483664" r:id="rId8"/>
    <p:sldLayoutId id="2147483681" r:id="rId9"/>
    <p:sldLayoutId id="2147483662" r:id="rId10"/>
    <p:sldLayoutId id="2147483680" r:id="rId11"/>
    <p:sldLayoutId id="2147483689" r:id="rId12"/>
    <p:sldLayoutId id="2147483693" r:id="rId13"/>
    <p:sldLayoutId id="2147483690" r:id="rId14"/>
    <p:sldLayoutId id="2147483675" r:id="rId15"/>
    <p:sldLayoutId id="2147483655" r:id="rId16"/>
  </p:sldLayoutIdLst>
  <p:hf hdr="0" dt="0"/>
  <p:txStyles>
    <p:titleStyle>
      <a:lvl1pPr algn="l" defTabSz="755856" rtl="0" eaLnBrk="1" latinLnBrk="0" hangingPunct="1">
        <a:lnSpc>
          <a:spcPct val="100000"/>
        </a:lnSpc>
        <a:spcBef>
          <a:spcPct val="0"/>
        </a:spcBef>
        <a:buNone/>
        <a:defRPr sz="190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488" b="1" kern="1200">
          <a:solidFill>
            <a:schemeClr val="accent6"/>
          </a:solidFill>
          <a:latin typeface="+mn-lt"/>
          <a:ea typeface="+mn-ea"/>
          <a:cs typeface="+mn-cs"/>
        </a:defRPr>
      </a:lvl1pPr>
      <a:lvl2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488" kern="1200">
          <a:solidFill>
            <a:schemeClr val="accent6"/>
          </a:solidFill>
          <a:latin typeface="+mn-lt"/>
          <a:ea typeface="+mn-ea"/>
          <a:cs typeface="+mn-cs"/>
        </a:defRPr>
      </a:lvl2pPr>
      <a:lvl3pPr marL="148791" indent="-148791" algn="l" defTabSz="755856" rtl="0" eaLnBrk="1" latinLnBrk="0" hangingPunct="1">
        <a:lnSpc>
          <a:spcPct val="100000"/>
        </a:lnSpc>
        <a:spcBef>
          <a:spcPts val="496"/>
        </a:spcBef>
        <a:buClr>
          <a:schemeClr val="accent3"/>
        </a:buClr>
        <a:buFont typeface="Arial" panose="020B0604020202020204" pitchFamily="34" charset="0"/>
        <a:buChar char="•"/>
        <a:defRPr sz="1488" kern="1200">
          <a:solidFill>
            <a:schemeClr val="accent6"/>
          </a:solidFill>
          <a:latin typeface="+mn-lt"/>
          <a:ea typeface="+mn-ea"/>
          <a:cs typeface="+mn-cs"/>
        </a:defRPr>
      </a:lvl3pPr>
      <a:lvl4pPr marL="297581" indent="-148791" algn="l" defTabSz="755856" rtl="0" eaLnBrk="1" latinLnBrk="0" hangingPunct="1">
        <a:lnSpc>
          <a:spcPct val="100000"/>
        </a:lnSpc>
        <a:spcBef>
          <a:spcPts val="992"/>
        </a:spcBef>
        <a:spcAft>
          <a:spcPts val="992"/>
        </a:spcAft>
        <a:buClr>
          <a:schemeClr val="accent2"/>
        </a:buClr>
        <a:buFont typeface="Arial" panose="020B0604020202020204" pitchFamily="34" charset="0"/>
        <a:buChar char="•"/>
        <a:defRPr sz="1488" b="0" i="0" kern="1200">
          <a:solidFill>
            <a:schemeClr val="accent6"/>
          </a:solidFill>
          <a:latin typeface="+mn-lt"/>
          <a:ea typeface="+mn-ea"/>
          <a:cs typeface="+mn-cs"/>
        </a:defRPr>
      </a:lvl4pPr>
      <a:lvl5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157" b="1" kern="1200">
          <a:solidFill>
            <a:schemeClr val="accent6"/>
          </a:solidFill>
          <a:latin typeface="+mn-lt"/>
          <a:ea typeface="+mn-ea"/>
          <a:cs typeface="+mn-cs"/>
        </a:defRPr>
      </a:lvl5pPr>
      <a:lvl6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15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755856" rtl="0" eaLnBrk="1" latinLnBrk="0" hangingPunct="1">
        <a:lnSpc>
          <a:spcPct val="100000"/>
        </a:lnSpc>
        <a:spcBef>
          <a:spcPts val="496"/>
        </a:spcBef>
        <a:buFont typeface="Arial" panose="020B0604020202020204" pitchFamily="34" charset="0"/>
        <a:buNone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29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856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785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713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642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569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498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426" algn="l" defTabSz="75585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4DEADB-58C1-A34D-EBB1-27EB8CD821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31890"/>
              </p:ext>
            </p:extLst>
          </p:nvPr>
        </p:nvGraphicFramePr>
        <p:xfrm>
          <a:off x="1031596" y="94637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4DEADB-58C1-A34D-EBB1-27EB8CD8216A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31596" y="94637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6E0CE1F8-222B-2C2F-15DE-1F9444C9D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ypical Pre-application process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73B6812-5ACC-6FDB-2936-6E6BC58DAF7F}"/>
              </a:ext>
            </a:extLst>
          </p:cNvPr>
          <p:cNvGrpSpPr/>
          <p:nvPr/>
        </p:nvGrpSpPr>
        <p:grpSpPr>
          <a:xfrm>
            <a:off x="326916" y="2829761"/>
            <a:ext cx="9425207" cy="363532"/>
            <a:chOff x="-51915" y="3405723"/>
            <a:chExt cx="17643944" cy="646330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45E64EB-6FAD-1A41-8C81-6DFAB2528F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51915" y="3727154"/>
              <a:ext cx="17216021" cy="3467"/>
            </a:xfrm>
            <a:prstGeom prst="line">
              <a:avLst/>
            </a:prstGeom>
            <a:ln w="76200">
              <a:solidFill>
                <a:srgbClr val="262626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AD85C48B-0CFD-D07D-3A50-485B8066E0A6}"/>
                </a:ext>
              </a:extLst>
            </p:cNvPr>
            <p:cNvSpPr/>
            <p:nvPr/>
          </p:nvSpPr>
          <p:spPr>
            <a:xfrm rot="5400000">
              <a:off x="17052865" y="3512888"/>
              <a:ext cx="646330" cy="431999"/>
            </a:xfrm>
            <a:prstGeom prst="triangle">
              <a:avLst/>
            </a:prstGeom>
            <a:solidFill>
              <a:srgbClr val="262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231"/>
              <a:endParaRPr lang="en-AU" sz="675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BAE79C19-5198-6901-00D6-6157A7C12BB0}"/>
              </a:ext>
            </a:extLst>
          </p:cNvPr>
          <p:cNvSpPr txBox="1"/>
          <p:nvPr/>
        </p:nvSpPr>
        <p:spPr>
          <a:xfrm>
            <a:off x="154803" y="3852281"/>
            <a:ext cx="1716066" cy="3283588"/>
          </a:xfrm>
          <a:prstGeom prst="rect">
            <a:avLst/>
          </a:prstGeom>
          <a:noFill/>
        </p:spPr>
        <p:txBody>
          <a:bodyPr wrap="square" lIns="51432" tIns="25716" rIns="51432" bIns="25716" anchor="t">
            <a:spAutoFit/>
          </a:bodyPr>
          <a:lstStyle/>
          <a:p>
            <a:pPr defTabSz="514231">
              <a:defRPr/>
            </a:pPr>
            <a:r>
              <a:rPr lang="en-AU" sz="1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E CONTACT</a:t>
            </a:r>
          </a:p>
          <a:p>
            <a:pPr defTabSz="356023">
              <a:defRPr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A pre-application process is a </a:t>
            </a:r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two-way conversation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 between a </a:t>
            </a:r>
            <a:r>
              <a:rPr lang="en-AU" sz="1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</a:t>
            </a:r>
            <a:r>
              <a:rPr lang="en-AU" sz="1000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nt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 (you!) and Council’s </a:t>
            </a:r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 officers. 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is discussion is intended to provide </a:t>
            </a:r>
            <a:r>
              <a:rPr lang="en-AU" sz="1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 with a better understanding of Council policy and officer’s views. It also provides </a:t>
            </a:r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rs 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with a better understanding of your proposal. Following discussions, both </a:t>
            </a:r>
            <a:r>
              <a:rPr lang="en-AU" sz="10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 and the </a:t>
            </a:r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 officer 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will have a better understanding of the next steps. The more information you provide the </a:t>
            </a:r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 officer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, the more comprehensive advice they will be able to provide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5BF12952-D70A-26CE-1719-9477952C95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6708194"/>
              </p:ext>
            </p:extLst>
          </p:nvPr>
        </p:nvGraphicFramePr>
        <p:xfrm>
          <a:off x="7145946" y="5734677"/>
          <a:ext cx="2973358" cy="175068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73358">
                  <a:extLst>
                    <a:ext uri="{9D8B030D-6E8A-4147-A177-3AD203B41FA5}">
                      <a16:colId xmlns:a16="http://schemas.microsoft.com/office/drawing/2014/main" val="565340872"/>
                    </a:ext>
                  </a:extLst>
                </a:gridCol>
              </a:tblGrid>
              <a:tr h="988616">
                <a:tc>
                  <a:txBody>
                    <a:bodyPr/>
                    <a:lstStyle/>
                    <a:p>
                      <a:pPr algn="ctr"/>
                      <a:r>
                        <a:rPr lang="en-AU" sz="1000" i="1" dirty="0">
                          <a:solidFill>
                            <a:schemeClr val="tx1"/>
                          </a:solidFill>
                          <a:latin typeface="Arial"/>
                        </a:rPr>
                        <a:t>Please note:</a:t>
                      </a:r>
                      <a:r>
                        <a:rPr lang="en-US" sz="1000" b="0" i="1" dirty="0">
                          <a:solidFill>
                            <a:schemeClr val="tx1"/>
                          </a:solidFill>
                          <a:latin typeface="Arial"/>
                        </a:rPr>
                        <a:t> All pre-application responses represent the views of Planning Officers only. These views may or may not be consistent with the final views of council, third parties or any relevant referral authorities. A high-quality, submission will allow councils to provide more detailed advice. Where a proposal requires third party or referral authority input, we recommend you seek the comments of any such relevant parties prior to submitting your application with council.</a:t>
                      </a:r>
                      <a:endParaRPr lang="en-AU" sz="1000" b="0" i="1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74287" marR="74287" marT="37144" marB="3714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503080"/>
                  </a:ext>
                </a:extLst>
              </a:tr>
            </a:tbl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F4F2F3C3-3A58-575E-1719-211EDEE31ADB}"/>
              </a:ext>
            </a:extLst>
          </p:cNvPr>
          <p:cNvSpPr txBox="1"/>
          <p:nvPr/>
        </p:nvSpPr>
        <p:spPr>
          <a:xfrm>
            <a:off x="248935" y="1740354"/>
            <a:ext cx="2582590" cy="1129152"/>
          </a:xfrm>
          <a:prstGeom prst="rect">
            <a:avLst/>
          </a:prstGeom>
          <a:noFill/>
        </p:spPr>
        <p:txBody>
          <a:bodyPr wrap="square" lIns="51432" tIns="25716" rIns="51432" bIns="25716" anchor="t">
            <a:spAutoFit/>
          </a:bodyPr>
          <a:lstStyle/>
          <a:p>
            <a:pPr algn="ctr" defTabSz="514231"/>
            <a:r>
              <a:rPr lang="en-US" sz="1000" b="1" dirty="0">
                <a:latin typeface="Arial"/>
                <a:cs typeface="Arial"/>
              </a:rPr>
              <a:t>Within 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[Insert period of time – </a:t>
            </a:r>
            <a:r>
              <a:rPr lang="en-US" sz="1000" b="1" dirty="0" err="1">
                <a:highlight>
                  <a:srgbClr val="FFFF00"/>
                </a:highlight>
                <a:latin typeface="Arial"/>
                <a:cs typeface="Arial"/>
              </a:rPr>
              <a:t>ie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. 1 week]</a:t>
            </a:r>
          </a:p>
          <a:p>
            <a:pPr algn="ctr" defTabSz="514231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f a meeting is necessary, you will receive your appointment date and time. Where a meeting is not recommended, a Planning Officer will reach out to you to provide useful resources when preparing your application and advice on next step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F657290-4195-8B02-4D42-C3EDBF8D05FB}"/>
              </a:ext>
            </a:extLst>
          </p:cNvPr>
          <p:cNvGrpSpPr/>
          <p:nvPr/>
        </p:nvGrpSpPr>
        <p:grpSpPr>
          <a:xfrm>
            <a:off x="154803" y="2880247"/>
            <a:ext cx="242981" cy="789737"/>
            <a:chOff x="14493749" y="1784696"/>
            <a:chExt cx="432000" cy="1404087"/>
          </a:xfrm>
          <a:solidFill>
            <a:srgbClr val="7030A0"/>
          </a:solidFill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5BC829E-01A1-E7AD-0313-1CD6D4ADAAE1}"/>
                </a:ext>
              </a:extLst>
            </p:cNvPr>
            <p:cNvSpPr/>
            <p:nvPr/>
          </p:nvSpPr>
          <p:spPr>
            <a:xfrm rot="16200000">
              <a:off x="14493749" y="1784696"/>
              <a:ext cx="432000" cy="432000"/>
            </a:xfrm>
            <a:prstGeom prst="ellipse">
              <a:avLst/>
            </a:prstGeom>
            <a:grpFill/>
            <a:ln w="25400" cap="flat" cmpd="sng" algn="ctr">
              <a:solidFill>
                <a:srgbClr val="262626"/>
              </a:solidFill>
              <a:prstDash val="solid"/>
              <a:miter lim="800000"/>
            </a:ln>
            <a:effectLst/>
          </p:spPr>
          <p:txBody>
            <a:bodyPr vert="vert" rtlCol="0" anchor="ctr"/>
            <a:lstStyle/>
            <a:p>
              <a:pPr algn="ctr" defTabSz="257130">
                <a:defRPr/>
              </a:pPr>
              <a:r>
                <a:rPr lang="en-US" sz="675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AU" sz="675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0DF88A4-B2A3-E8E3-6DCA-FE255AD866F4}"/>
                </a:ext>
              </a:extLst>
            </p:cNvPr>
            <p:cNvGrpSpPr/>
            <p:nvPr/>
          </p:nvGrpSpPr>
          <p:grpSpPr>
            <a:xfrm>
              <a:off x="14619749" y="2216695"/>
              <a:ext cx="180000" cy="972088"/>
              <a:chOff x="11802722" y="3944886"/>
              <a:chExt cx="180000" cy="972088"/>
            </a:xfrm>
            <a:grpFill/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D37751D-A003-CD80-320F-2C92DF7EFBB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888647" y="3944886"/>
                <a:ext cx="8151" cy="932632"/>
              </a:xfrm>
              <a:prstGeom prst="line">
                <a:avLst/>
              </a:prstGeom>
              <a:grpFill/>
              <a:ln w="381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7232BF1-AAEA-F35B-D945-017F3F60107E}"/>
                  </a:ext>
                </a:extLst>
              </p:cNvPr>
              <p:cNvSpPr/>
              <p:nvPr/>
            </p:nvSpPr>
            <p:spPr>
              <a:xfrm rot="16200000">
                <a:off x="11802722" y="4736974"/>
                <a:ext cx="180000" cy="180000"/>
              </a:xfrm>
              <a:prstGeom prst="ellipse">
                <a:avLst/>
              </a:prstGeom>
              <a:grpFill/>
              <a:ln w="25400" cap="flat" cmpd="sng" algn="ctr">
                <a:solidFill>
                  <a:srgbClr val="26262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257130">
                  <a:defRPr/>
                </a:pPr>
                <a:endParaRPr lang="en-AU" sz="675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6F4789F-1FD8-3107-21B3-A37762BCC143}"/>
              </a:ext>
            </a:extLst>
          </p:cNvPr>
          <p:cNvGrpSpPr/>
          <p:nvPr/>
        </p:nvGrpSpPr>
        <p:grpSpPr>
          <a:xfrm>
            <a:off x="2594223" y="2902439"/>
            <a:ext cx="242981" cy="789737"/>
            <a:chOff x="4943327" y="4736971"/>
            <a:chExt cx="432000" cy="1404087"/>
          </a:xfrm>
          <a:solidFill>
            <a:srgbClr val="7030A0"/>
          </a:solidFill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A44EA5E-1C7D-8422-6910-FE3AED84BC75}"/>
                </a:ext>
              </a:extLst>
            </p:cNvPr>
            <p:cNvSpPr/>
            <p:nvPr/>
          </p:nvSpPr>
          <p:spPr>
            <a:xfrm rot="16200000">
              <a:off x="4943327" y="4736971"/>
              <a:ext cx="432000" cy="432000"/>
            </a:xfrm>
            <a:prstGeom prst="ellipse">
              <a:avLst/>
            </a:prstGeom>
            <a:grpFill/>
            <a:ln w="25400" cap="flat" cmpd="sng" algn="ctr">
              <a:solidFill>
                <a:srgbClr val="262626"/>
              </a:solidFill>
              <a:prstDash val="solid"/>
              <a:miter lim="800000"/>
            </a:ln>
            <a:effectLst/>
          </p:spPr>
          <p:txBody>
            <a:bodyPr vert="vert" rtlCol="0" anchor="ctr"/>
            <a:lstStyle/>
            <a:p>
              <a:pPr algn="ctr" defTabSz="257130">
                <a:defRPr/>
              </a:pPr>
              <a:r>
                <a:rPr lang="en-US" sz="675" b="1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AU" sz="675" b="1" ker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CBD45A29-94BA-CC05-BEB6-4E502D19DFDD}"/>
                </a:ext>
              </a:extLst>
            </p:cNvPr>
            <p:cNvGrpSpPr/>
            <p:nvPr/>
          </p:nvGrpSpPr>
          <p:grpSpPr>
            <a:xfrm>
              <a:off x="5069327" y="5168970"/>
              <a:ext cx="180000" cy="972088"/>
              <a:chOff x="11802722" y="3944886"/>
              <a:chExt cx="180000" cy="972088"/>
            </a:xfrm>
            <a:grpFill/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A0C7EE6-5B78-4E8C-3AB8-3C8CC79DF6E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888647" y="3944886"/>
                <a:ext cx="8151" cy="932632"/>
              </a:xfrm>
              <a:prstGeom prst="line">
                <a:avLst/>
              </a:prstGeom>
              <a:grpFill/>
              <a:ln w="381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845F8D6F-E8D3-3CB8-08A1-2B89914EBB61}"/>
                  </a:ext>
                </a:extLst>
              </p:cNvPr>
              <p:cNvSpPr/>
              <p:nvPr/>
            </p:nvSpPr>
            <p:spPr>
              <a:xfrm rot="16200000">
                <a:off x="11802722" y="4736974"/>
                <a:ext cx="180000" cy="180000"/>
              </a:xfrm>
              <a:prstGeom prst="ellipse">
                <a:avLst/>
              </a:prstGeom>
              <a:grpFill/>
              <a:ln w="25400" cap="flat" cmpd="sng" algn="ctr">
                <a:solidFill>
                  <a:srgbClr val="26262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257130">
                  <a:defRPr/>
                </a:pPr>
                <a:endParaRPr lang="en-AU" sz="675" ker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BF8DC79-AAF6-09FE-BD05-4FF5C3BBD43C}"/>
              </a:ext>
            </a:extLst>
          </p:cNvPr>
          <p:cNvGrpSpPr/>
          <p:nvPr/>
        </p:nvGrpSpPr>
        <p:grpSpPr>
          <a:xfrm>
            <a:off x="7207749" y="2902439"/>
            <a:ext cx="242981" cy="789737"/>
            <a:chOff x="4943327" y="4736971"/>
            <a:chExt cx="432000" cy="1404087"/>
          </a:xfrm>
          <a:solidFill>
            <a:schemeClr val="bg2">
              <a:lumMod val="50000"/>
              <a:lumOff val="50000"/>
            </a:schemeClr>
          </a:solidFill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05CBC30F-A2B4-8FC9-5CE4-4A4D55343739}"/>
                </a:ext>
              </a:extLst>
            </p:cNvPr>
            <p:cNvSpPr/>
            <p:nvPr/>
          </p:nvSpPr>
          <p:spPr>
            <a:xfrm rot="16200000">
              <a:off x="4943327" y="4736971"/>
              <a:ext cx="432000" cy="432000"/>
            </a:xfrm>
            <a:prstGeom prst="ellipse">
              <a:avLst/>
            </a:prstGeom>
            <a:solidFill>
              <a:srgbClr val="7030A0"/>
            </a:solidFill>
            <a:ln w="25400" cap="flat" cmpd="sng" algn="ctr">
              <a:solidFill>
                <a:srgbClr val="262626"/>
              </a:solidFill>
              <a:prstDash val="solid"/>
              <a:miter lim="800000"/>
            </a:ln>
            <a:effectLst/>
          </p:spPr>
          <p:txBody>
            <a:bodyPr vert="vert" rtlCol="0" anchor="ctr"/>
            <a:lstStyle/>
            <a:p>
              <a:pPr algn="ctr" defTabSz="257130">
                <a:defRPr/>
              </a:pPr>
              <a:r>
                <a:rPr lang="en-US" sz="675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AU" sz="675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C5B716E-CB6F-C60F-4927-DFBA40789FAD}"/>
                </a:ext>
              </a:extLst>
            </p:cNvPr>
            <p:cNvGrpSpPr/>
            <p:nvPr/>
          </p:nvGrpSpPr>
          <p:grpSpPr>
            <a:xfrm>
              <a:off x="5069327" y="5168970"/>
              <a:ext cx="180000" cy="972088"/>
              <a:chOff x="11802722" y="3944886"/>
              <a:chExt cx="180000" cy="972088"/>
            </a:xfrm>
            <a:grpFill/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CB5CC3A6-85E6-635E-266C-E2D6B77B9C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888647" y="3944886"/>
                <a:ext cx="8151" cy="932632"/>
              </a:xfrm>
              <a:prstGeom prst="line">
                <a:avLst/>
              </a:prstGeom>
              <a:grpFill/>
              <a:ln w="38100"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77A54CA0-981D-80A4-0E42-A0D56423D7B7}"/>
                  </a:ext>
                </a:extLst>
              </p:cNvPr>
              <p:cNvSpPr/>
              <p:nvPr/>
            </p:nvSpPr>
            <p:spPr>
              <a:xfrm rot="16200000">
                <a:off x="11802722" y="4736974"/>
                <a:ext cx="180000" cy="180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25400" cap="flat" cmpd="sng" algn="ctr">
                <a:solidFill>
                  <a:srgbClr val="262626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257130">
                  <a:defRPr/>
                </a:pPr>
                <a:endParaRPr lang="en-AU" sz="675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1516B567-A39C-0D28-AB9D-5DEA3CBF653B}"/>
              </a:ext>
            </a:extLst>
          </p:cNvPr>
          <p:cNvSpPr txBox="1"/>
          <p:nvPr/>
        </p:nvSpPr>
        <p:spPr>
          <a:xfrm>
            <a:off x="3230679" y="1740354"/>
            <a:ext cx="3721570" cy="821376"/>
          </a:xfrm>
          <a:prstGeom prst="rect">
            <a:avLst/>
          </a:prstGeom>
          <a:noFill/>
        </p:spPr>
        <p:txBody>
          <a:bodyPr wrap="square" lIns="51432" tIns="25716" rIns="51432" bIns="25716" anchor="t">
            <a:spAutoFit/>
          </a:bodyPr>
          <a:lstStyle/>
          <a:p>
            <a:pPr algn="ctr" defTabSz="514231"/>
            <a:r>
              <a:rPr lang="en-US" sz="1000" b="1" dirty="0">
                <a:latin typeface="Arial"/>
                <a:cs typeface="Arial"/>
              </a:rPr>
              <a:t>Within 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[Insert period of time – </a:t>
            </a:r>
            <a:r>
              <a:rPr lang="en-US" sz="1000" b="1" dirty="0" err="1">
                <a:highlight>
                  <a:srgbClr val="FFFF00"/>
                </a:highlight>
                <a:latin typeface="Arial"/>
                <a:cs typeface="Arial"/>
              </a:rPr>
              <a:t>ie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. 3 weeks]</a:t>
            </a:r>
            <a:endParaRPr lang="en-US" sz="1000" dirty="0">
              <a:latin typeface="Arial"/>
              <a:cs typeface="Arial"/>
            </a:endParaRPr>
          </a:p>
          <a:p>
            <a:pPr algn="ctr" defTabSz="514231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f required, then the pre-application meeting is held. If a meeting was deemed not necessary, you will receive either a call and</a:t>
            </a:r>
          </a:p>
          <a:p>
            <a:pPr algn="ctr" defTabSz="514231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ollow-up email setting out officer’s views, or a formal written response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2305DD9-A374-AC34-C9E0-DA0F4B79F971}"/>
              </a:ext>
            </a:extLst>
          </p:cNvPr>
          <p:cNvSpPr txBox="1"/>
          <p:nvPr/>
        </p:nvSpPr>
        <p:spPr>
          <a:xfrm>
            <a:off x="7379860" y="1779642"/>
            <a:ext cx="2326495" cy="975264"/>
          </a:xfrm>
          <a:prstGeom prst="rect">
            <a:avLst/>
          </a:prstGeom>
          <a:noFill/>
        </p:spPr>
        <p:txBody>
          <a:bodyPr wrap="square" lIns="51432" tIns="25716" rIns="51432" bIns="25716" anchor="t">
            <a:spAutoFit/>
          </a:bodyPr>
          <a:lstStyle/>
          <a:p>
            <a:pPr algn="ctr" defTabSz="514231"/>
            <a:r>
              <a:rPr lang="en-US" sz="1000" b="1" dirty="0">
                <a:latin typeface="Arial"/>
                <a:cs typeface="Arial"/>
              </a:rPr>
              <a:t>Within 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[period of time – </a:t>
            </a:r>
            <a:r>
              <a:rPr lang="en-US" sz="1000" b="1" dirty="0" err="1">
                <a:highlight>
                  <a:srgbClr val="FFFF00"/>
                </a:highlight>
                <a:latin typeface="Arial"/>
                <a:cs typeface="Arial"/>
              </a:rPr>
              <a:t>ie</a:t>
            </a:r>
            <a:r>
              <a:rPr lang="en-US" sz="1000" b="1" dirty="0">
                <a:highlight>
                  <a:srgbClr val="FFFF00"/>
                </a:highlight>
                <a:latin typeface="Arial"/>
                <a:cs typeface="Arial"/>
              </a:rPr>
              <a:t>. 5 weeks]</a:t>
            </a:r>
            <a:endParaRPr lang="en-US" sz="1000" dirty="0">
              <a:latin typeface="Arial"/>
              <a:cs typeface="Arial"/>
            </a:endParaRPr>
          </a:p>
          <a:p>
            <a:pPr algn="ctr" defTabSz="514231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 formal written response will be provided after the pre-application meeting. This response will set out officer’s views and list required application documents</a:t>
            </a:r>
            <a:endParaRPr lang="en-A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B469A27-A97D-FBF5-6F4D-5BF584DEC8D2}"/>
              </a:ext>
            </a:extLst>
          </p:cNvPr>
          <p:cNvSpPr txBox="1"/>
          <p:nvPr/>
        </p:nvSpPr>
        <p:spPr>
          <a:xfrm>
            <a:off x="7532137" y="3604931"/>
            <a:ext cx="1921883" cy="1590817"/>
          </a:xfrm>
          <a:prstGeom prst="rect">
            <a:avLst/>
          </a:prstGeom>
          <a:noFill/>
        </p:spPr>
        <p:txBody>
          <a:bodyPr wrap="square" lIns="51432" tIns="25716" rIns="51432" bIns="25716" anchor="t">
            <a:spAutoFit/>
          </a:bodyPr>
          <a:lstStyle/>
          <a:p>
            <a:pPr defTabSz="514231">
              <a:defRPr/>
            </a:pPr>
            <a:r>
              <a:rPr lang="en-AU" sz="1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RITTEN RESPONSE</a:t>
            </a:r>
          </a:p>
          <a:p>
            <a:pPr defTabSz="356023"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The Planning Officer provides a written response which:</a:t>
            </a:r>
          </a:p>
          <a:p>
            <a:pPr marL="160356" indent="-160356" defTabSz="356023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ets out officer views, considering policy, guidance and site context</a:t>
            </a:r>
          </a:p>
          <a:p>
            <a:pPr marL="160356" indent="-160356" defTabSz="356023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Lists the required application documents</a:t>
            </a:r>
          </a:p>
          <a:p>
            <a:pPr marL="160356" indent="-160356" defTabSz="356023"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etails next steps in the planning application process</a:t>
            </a: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07D80D1D-5662-E8AA-6976-CF31DE983ACD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5742" y="3239267"/>
            <a:ext cx="350880" cy="350880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EB570018-75F9-530B-8B23-0BC60F5D7C53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37204" y="3192340"/>
            <a:ext cx="384648" cy="384648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26E0A3A2-A889-6521-ECFD-E093CD9D097B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32137" y="3206738"/>
            <a:ext cx="356267" cy="35626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ACA22238-C2A2-B33A-E017-21D9D083BE15}"/>
              </a:ext>
            </a:extLst>
          </p:cNvPr>
          <p:cNvSpPr txBox="1"/>
          <p:nvPr/>
        </p:nvSpPr>
        <p:spPr>
          <a:xfrm>
            <a:off x="1982541" y="3864934"/>
            <a:ext cx="2973358" cy="34631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51432" tIns="25716" rIns="51432" bIns="25716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AU" sz="1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APPLICATION MEETING</a:t>
            </a:r>
            <a:endParaRPr lang="en-US" sz="1000" dirty="0">
              <a:solidFill>
                <a:srgbClr val="7030A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e meeting provides a </a:t>
            </a:r>
            <a:r>
              <a:rPr lang="en-AU" sz="1000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 applicant</a:t>
            </a:r>
            <a:r>
              <a:rPr lang="en-AU" sz="1000" dirty="0">
                <a:solidFill>
                  <a:srgbClr val="F8981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with…</a:t>
            </a:r>
            <a:endParaRPr lang="en-US" sz="10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160713" indent="-160713">
              <a:buFont typeface="Wingdings"/>
              <a:buChar char="ü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An opportunity to understand relevant planning policies and guidance</a:t>
            </a:r>
            <a:endParaRPr lang="en-US" sz="10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160713" indent="-160713">
              <a:spcAft>
                <a:spcPts val="233"/>
              </a:spcAft>
              <a:buFont typeface="Wingdings"/>
              <a:buChar char="ü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Merits-based advice from Planning Officers to help refine your proposal prior to applying</a:t>
            </a:r>
            <a:endParaRPr lang="en-AU" sz="10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e pre-application meeting does not provide a </a:t>
            </a:r>
          </a:p>
          <a:p>
            <a:r>
              <a:rPr lang="en-AU" sz="1000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 applicant</a:t>
            </a:r>
            <a:r>
              <a:rPr lang="en-AU" sz="1000" dirty="0">
                <a:solidFill>
                  <a:srgbClr val="F8981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with…</a:t>
            </a:r>
            <a:endParaRPr lang="en-US" sz="10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160713" indent="-160713">
              <a:buFont typeface="Arial,Sans-Serif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mmitments to timeframes</a:t>
            </a:r>
            <a:endParaRPr lang="en-US" sz="1000" dirty="0"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160713" indent="-160713">
              <a:buFont typeface="Arial,Sans-Serif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 decision</a:t>
            </a:r>
          </a:p>
          <a:p>
            <a:pPr marL="160713" indent="-160713">
              <a:buFont typeface="Arial,Sans-Serif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e pre-application meeting </a:t>
            </a:r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provides </a:t>
            </a:r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 </a:t>
            </a:r>
          </a:p>
          <a:p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rs 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with…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160713" indent="-160713">
              <a:buFont typeface="Wingdings"/>
              <a:buChar char="ü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An understanding of the site and related constraint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160713" indent="-160713">
              <a:buFont typeface="Wingdings"/>
              <a:buChar char="ü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A high-level understanding and your proposal and its relationship to policy and guidanc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he pre-application meeting </a:t>
            </a:r>
            <a:r>
              <a:rPr lang="en-AU" sz="1000" b="1" dirty="0">
                <a:latin typeface="Arial" panose="020B0604020202020204" pitchFamily="34" charset="0"/>
                <a:cs typeface="Arial" panose="020B0604020202020204" pitchFamily="34" charset="0"/>
              </a:rPr>
              <a:t>does not enable </a:t>
            </a:r>
          </a:p>
          <a:p>
            <a:r>
              <a:rPr lang="en-AU" sz="1000" b="1" dirty="0">
                <a:solidFill>
                  <a:srgbClr val="25B3E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 officers </a:t>
            </a: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to…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</a:p>
          <a:p>
            <a:pPr marL="160713" indent="-160713">
              <a:buFont typeface="Arial"/>
              <a:buChar char="•"/>
            </a:pPr>
            <a:r>
              <a:rPr lang="en-AU" sz="1000" dirty="0">
                <a:latin typeface="Arial" panose="020B0604020202020204" pitchFamily="34" charset="0"/>
                <a:cs typeface="Arial" panose="020B0604020202020204" pitchFamily="34" charset="0"/>
              </a:rPr>
              <a:t>Undertake a thorough analysis of the technical aspects of a proposal or determine a final position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9559527-4117-7BC3-10B9-BCA25809AEC4}"/>
              </a:ext>
            </a:extLst>
          </p:cNvPr>
          <p:cNvSpPr txBox="1"/>
          <p:nvPr/>
        </p:nvSpPr>
        <p:spPr>
          <a:xfrm>
            <a:off x="4973686" y="4152618"/>
            <a:ext cx="215447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 fontAlgn="base"/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e-application meeting will include:</a:t>
            </a:r>
            <a:endParaRPr lang="en-AU" sz="1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6428" indent="-96428" algn="just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of attendees (all parties) </a:t>
            </a:r>
          </a:p>
          <a:p>
            <a:pPr marL="96428" indent="-96428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pose of pre-application (officer) </a:t>
            </a:r>
          </a:p>
          <a:p>
            <a:pPr marL="96428" indent="-96428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and confirmation of proposal (all parties) </a:t>
            </a:r>
          </a:p>
          <a:p>
            <a:pPr marL="96428" indent="-96428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anation of key planning controls and considerations (officer) </a:t>
            </a:r>
          </a:p>
          <a:p>
            <a:pPr marL="96428" indent="-96428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questions or other concerns (all parties) </a:t>
            </a:r>
          </a:p>
          <a:p>
            <a:pPr marL="96428" indent="-96428" fontAlgn="base">
              <a:buFont typeface="Arial" panose="020B0604020202020204" pitchFamily="34" charset="0"/>
              <a:buChar char="•"/>
            </a:pPr>
            <a:r>
              <a: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ion of next steps (officer) 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6FA2423-9909-C4F7-95FC-DF853825083C}"/>
              </a:ext>
            </a:extLst>
          </p:cNvPr>
          <p:cNvSpPr txBox="1"/>
          <p:nvPr/>
        </p:nvSpPr>
        <p:spPr>
          <a:xfrm>
            <a:off x="535449" y="1027550"/>
            <a:ext cx="7142625" cy="8079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2" tIns="34291" rIns="68582" bIns="34291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highlight>
                  <a:srgbClr val="FFFF00"/>
                </a:highlight>
                <a:latin typeface="Arial"/>
                <a:cs typeface="Arial"/>
              </a:rPr>
              <a:t>Implementation note: Remove these notes prior to publishing this solution</a:t>
            </a:r>
          </a:p>
          <a:p>
            <a:r>
              <a:rPr lang="en-US" sz="1000" dirty="0">
                <a:solidFill>
                  <a:schemeClr val="tx1"/>
                </a:solidFill>
                <a:highlight>
                  <a:srgbClr val="FFFF00"/>
                </a:highlight>
                <a:latin typeface="Arial"/>
                <a:cs typeface="Arial"/>
              </a:rPr>
              <a:t>You will need to specify the period of time in which applicants can expect these steps to be complete (e.g. one week, three weeks, and five weeks)</a:t>
            </a:r>
          </a:p>
          <a:p>
            <a:endParaRPr lang="en-US" sz="900" i="1" dirty="0">
              <a:solidFill>
                <a:srgbClr val="FF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i="1" dirty="0">
              <a:solidFill>
                <a:srgbClr val="FF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790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partment of Transport and Planning">
  <a:themeElements>
    <a:clrScheme name="DoTP-Reshuffle">
      <a:dk1>
        <a:sysClr val="windowText" lastClr="000000"/>
      </a:dk1>
      <a:lt1>
        <a:sysClr val="window" lastClr="FFFFFF"/>
      </a:lt1>
      <a:dk2>
        <a:srgbClr val="00B2A9"/>
      </a:dk2>
      <a:lt2>
        <a:srgbClr val="E1EEF9"/>
      </a:lt2>
      <a:accent1>
        <a:srgbClr val="CEDC00"/>
      </a:accent1>
      <a:accent2>
        <a:srgbClr val="FF9E1B"/>
      </a:accent2>
      <a:accent3>
        <a:srgbClr val="59CDC7"/>
      </a:accent3>
      <a:accent4>
        <a:srgbClr val="B2E8E5"/>
      </a:accent4>
      <a:accent5>
        <a:srgbClr val="009CA1"/>
      </a:accent5>
      <a:accent6>
        <a:srgbClr val="53565A"/>
      </a:accent6>
      <a:hlink>
        <a:srgbClr val="000000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903587CA-91E9-DF41-8D03-A9FF42341FAF}" vid="{8F10F8BF-6A63-8C47-81D4-1E0B1C5655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cb25b9-5e2a-4cbc-a1d6-f53ee7652e4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2BB819AAA975489E33CF0F50496490" ma:contentTypeVersion="10" ma:contentTypeDescription="Create a new document." ma:contentTypeScope="" ma:versionID="e8aed1a0a979e0d4bd7ee35307791cd5">
  <xsd:schema xmlns:xsd="http://www.w3.org/2001/XMLSchema" xmlns:xs="http://www.w3.org/2001/XMLSchema" xmlns:p="http://schemas.microsoft.com/office/2006/metadata/properties" xmlns:ns2="3dcb25b9-5e2a-4cbc-a1d6-f53ee7652e42" targetNamespace="http://schemas.microsoft.com/office/2006/metadata/properties" ma:root="true" ma:fieldsID="bdac9d7d3ad936dc420253b2d2cf3a3d" ns2:_="">
    <xsd:import namespace="3dcb25b9-5e2a-4cbc-a1d6-f53ee7652e4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b25b9-5e2a-4cbc-a1d6-f53ee7652e42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62a39602-bab5-4ac0-a14f-71daef3a25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6A44D6-8EE8-46A4-B93B-38D5021E5147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http://purl.org/dc/elements/1.1/"/>
    <ds:schemaRef ds:uri="http://purl.org/dc/terms/"/>
    <ds:schemaRef ds:uri="http://schemas.openxmlformats.org/package/2006/metadata/core-properties"/>
    <ds:schemaRef ds:uri="3dcb25b9-5e2a-4cbc-a1d6-f53ee7652e42"/>
  </ds:schemaRefs>
</ds:datastoreItem>
</file>

<file path=customXml/itemProps2.xml><?xml version="1.0" encoding="utf-8"?>
<ds:datastoreItem xmlns:ds="http://schemas.openxmlformats.org/officeDocument/2006/customXml" ds:itemID="{8599285A-A829-44B9-AE5E-9AC2916FF6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b25b9-5e2a-4cbc-a1d6-f53ee7652e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D95502D-380B-4CB7-8B03-BD2E8C90A9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P_4x3_Template</Template>
  <TotalTime>178</TotalTime>
  <Words>556</Words>
  <Application>Microsoft Office PowerPoint</Application>
  <PresentationFormat>Custom</PresentationFormat>
  <Paragraphs>44</Paragraphs>
  <Slides>1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,Sans-Serif</vt:lpstr>
      <vt:lpstr>Calibri</vt:lpstr>
      <vt:lpstr>Roboto</vt:lpstr>
      <vt:lpstr>Wingdings</vt:lpstr>
      <vt:lpstr>Department of Transport and Planning</vt:lpstr>
      <vt:lpstr>think-cell Slide</vt:lpstr>
      <vt:lpstr>Typical Pre-application proces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ical planning permit process</dc:title>
  <dc:creator>Chelci Cox (DEECA)</dc:creator>
  <cp:lastModifiedBy>Chelci Cox (DEECA)</cp:lastModifiedBy>
  <cp:revision>8</cp:revision>
  <dcterms:created xsi:type="dcterms:W3CDTF">2023-06-08T00:47:10Z</dcterms:created>
  <dcterms:modified xsi:type="dcterms:W3CDTF">2023-08-01T00:2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2BB819AAA975489E33CF0F50496490</vt:lpwstr>
  </property>
  <property fmtid="{D5CDD505-2E9C-101B-9397-08002B2CF9AE}" pid="3" name="MediaServiceImageTags">
    <vt:lpwstr/>
  </property>
  <property fmtid="{D5CDD505-2E9C-101B-9397-08002B2CF9AE}" pid="4" name="MSIP_Label_4257e2ab-f512-40e2-9c9a-c64247360765_Enabled">
    <vt:lpwstr>true</vt:lpwstr>
  </property>
  <property fmtid="{D5CDD505-2E9C-101B-9397-08002B2CF9AE}" pid="5" name="MSIP_Label_4257e2ab-f512-40e2-9c9a-c64247360765_SetDate">
    <vt:lpwstr>2023-08-01T00:20:05Z</vt:lpwstr>
  </property>
  <property fmtid="{D5CDD505-2E9C-101B-9397-08002B2CF9AE}" pid="6" name="MSIP_Label_4257e2ab-f512-40e2-9c9a-c64247360765_Method">
    <vt:lpwstr>Privileged</vt:lpwstr>
  </property>
  <property fmtid="{D5CDD505-2E9C-101B-9397-08002B2CF9AE}" pid="7" name="MSIP_Label_4257e2ab-f512-40e2-9c9a-c64247360765_Name">
    <vt:lpwstr>OFFICIAL</vt:lpwstr>
  </property>
  <property fmtid="{D5CDD505-2E9C-101B-9397-08002B2CF9AE}" pid="8" name="MSIP_Label_4257e2ab-f512-40e2-9c9a-c64247360765_SiteId">
    <vt:lpwstr>e8bdd6f7-fc18-4e48-a554-7f547927223b</vt:lpwstr>
  </property>
  <property fmtid="{D5CDD505-2E9C-101B-9397-08002B2CF9AE}" pid="9" name="MSIP_Label_4257e2ab-f512-40e2-9c9a-c64247360765_ActionId">
    <vt:lpwstr>30e36f4c-4055-4d07-8c1b-ca9052c78800</vt:lpwstr>
  </property>
  <property fmtid="{D5CDD505-2E9C-101B-9397-08002B2CF9AE}" pid="10" name="MSIP_Label_4257e2ab-f512-40e2-9c9a-c64247360765_ContentBits">
    <vt:lpwstr>2</vt:lpwstr>
  </property>
</Properties>
</file>